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6" r:id="rId4"/>
    <p:sldMasterId id="2147483681" r:id="rId5"/>
  </p:sldMasterIdLst>
  <p:notesMasterIdLst>
    <p:notesMasterId r:id="rId20"/>
  </p:notesMasterIdLst>
  <p:sldIdLst>
    <p:sldId id="368" r:id="rId6"/>
    <p:sldId id="2147483624" r:id="rId7"/>
    <p:sldId id="259" r:id="rId8"/>
    <p:sldId id="2147474654" r:id="rId9"/>
    <p:sldId id="258" r:id="rId10"/>
    <p:sldId id="2147483644" r:id="rId11"/>
    <p:sldId id="2147480303" r:id="rId12"/>
    <p:sldId id="261" r:id="rId13"/>
    <p:sldId id="2147483647" r:id="rId14"/>
    <p:sldId id="2147483567" r:id="rId15"/>
    <p:sldId id="2147480231" r:id="rId16"/>
    <p:sldId id="2147479136" r:id="rId17"/>
    <p:sldId id="2147483614" r:id="rId18"/>
    <p:sldId id="267" r:id="rId19"/>
  </p:sldIdLst>
  <p:sldSz cx="10693400" cy="7562850"/>
  <p:notesSz cx="10693400" cy="756285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1C1D1A-E5D8-4FBC-8B48-A2C465859971}" v="30" dt="2025-11-13T12:29:39.81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48" autoAdjust="0"/>
    <p:restoredTop sz="94660"/>
  </p:normalViewPr>
  <p:slideViewPr>
    <p:cSldViewPr snapToGrid="0">
      <p:cViewPr varScale="1">
        <p:scale>
          <a:sx n="133" d="100"/>
          <a:sy n="133" d="100"/>
        </p:scale>
        <p:origin x="1680" y="132"/>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6057900" y="0"/>
            <a:ext cx="4632325" cy="379413"/>
          </a:xfrm>
          <a:prstGeom prst="rect">
            <a:avLst/>
          </a:prstGeom>
        </p:spPr>
        <p:txBody>
          <a:bodyPr vert="horz" lIns="91440" tIns="45720" rIns="91440" bIns="45720" rtlCol="0"/>
          <a:lstStyle>
            <a:lvl1pPr algn="r">
              <a:defRPr sz="1200"/>
            </a:lvl1pPr>
          </a:lstStyle>
          <a:p>
            <a:fld id="{A957C1B6-93CD-48A5-93D3-55923D970A96}" type="datetimeFigureOut">
              <a:rPr lang="nb-NO" smtClean="0"/>
              <a:t>19.11.2025</a:t>
            </a:fld>
            <a:endParaRPr lang="nb-NO"/>
          </a:p>
        </p:txBody>
      </p:sp>
      <p:sp>
        <p:nvSpPr>
          <p:cNvPr id="4" name="Slide Image Placeholder 3"/>
          <p:cNvSpPr>
            <a:spLocks noGrp="1" noRot="1" noChangeAspect="1"/>
          </p:cNvSpPr>
          <p:nvPr>
            <p:ph type="sldImg" idx="2"/>
          </p:nvPr>
        </p:nvSpPr>
        <p:spPr>
          <a:xfrm>
            <a:off x="3543300" y="946150"/>
            <a:ext cx="3606800" cy="2551113"/>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1069975" y="3640138"/>
            <a:ext cx="8553450" cy="29781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7183438"/>
            <a:ext cx="4633913" cy="379412"/>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6057900" y="7183438"/>
            <a:ext cx="4632325" cy="379412"/>
          </a:xfrm>
          <a:prstGeom prst="rect">
            <a:avLst/>
          </a:prstGeom>
        </p:spPr>
        <p:txBody>
          <a:bodyPr vert="horz" lIns="91440" tIns="45720" rIns="91440" bIns="45720" rtlCol="0" anchor="b"/>
          <a:lstStyle>
            <a:lvl1pPr algn="r">
              <a:defRPr sz="1200"/>
            </a:lvl1pPr>
          </a:lstStyle>
          <a:p>
            <a:fld id="{AA2068C1-E543-443B-AAEB-BD62E30F8CA3}" type="slidenum">
              <a:rPr lang="nb-NO" smtClean="0"/>
              <a:t>‹#›</a:t>
            </a:fld>
            <a:endParaRPr lang="nb-NO"/>
          </a:p>
        </p:txBody>
      </p:sp>
    </p:spTree>
    <p:extLst>
      <p:ext uri="{BB962C8B-B14F-4D97-AF65-F5344CB8AC3E}">
        <p14:creationId xmlns:p14="http://schemas.microsoft.com/office/powerpoint/2010/main" val="3057201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96940-460F-A524-0231-2F675499E7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C56AE0-8D1A-7CB6-F77C-3030E77F5A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61BAA5-BCF2-A4F0-4A1E-054CC3C27E20}"/>
              </a:ext>
            </a:extLst>
          </p:cNvPr>
          <p:cNvSpPr>
            <a:spLocks noGrp="1"/>
          </p:cNvSpPr>
          <p:nvPr>
            <p:ph type="body" idx="1"/>
          </p:nvPr>
        </p:nvSpPr>
        <p:spPr/>
        <p:txBody>
          <a:bodyPr/>
          <a:lstStyle/>
          <a:p>
            <a:endParaRPr lang="ne-NP" dirty="0"/>
          </a:p>
        </p:txBody>
      </p:sp>
      <p:sp>
        <p:nvSpPr>
          <p:cNvPr id="4" name="Slide Number Placeholder 3">
            <a:extLst>
              <a:ext uri="{FF2B5EF4-FFF2-40B4-BE49-F238E27FC236}">
                <a16:creationId xmlns:a16="http://schemas.microsoft.com/office/drawing/2014/main" id="{4A318400-C52F-9396-E77D-3B48B74B03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0EB820-8336-42F0-9B22-A9E5E23490C3}" type="slidenum">
              <a:rPr kumimoji="0" lang="ne-NP" sz="1200" b="0" i="0" u="none" strike="noStrike" kern="1200" cap="none" spc="0" normalizeH="0" baseline="0" noProof="0" smtClean="0">
                <a:ln>
                  <a:noFill/>
                </a:ln>
                <a:solidFill>
                  <a:prstClr val="black"/>
                </a:solidFill>
                <a:effectLst/>
                <a:uLnTx/>
                <a:uFillTx/>
                <a:latin typeface="Aptos" panose="02110004020202020204"/>
                <a:ea typeface="+mn-ea"/>
                <a:cs typeface="Mangal" panose="02040503050203030202"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e-NP" sz="1200" b="0" i="0" u="none" strike="noStrike" kern="1200" cap="none" spc="0" normalizeH="0" baseline="0" noProof="0">
              <a:ln>
                <a:noFill/>
              </a:ln>
              <a:solidFill>
                <a:prstClr val="black"/>
              </a:solidFill>
              <a:effectLst/>
              <a:uLnTx/>
              <a:uFillTx/>
              <a:latin typeface="Aptos" panose="02110004020202020204"/>
              <a:ea typeface="+mn-ea"/>
              <a:cs typeface="Mangal" panose="02040503050203030202" pitchFamily="18" charset="0"/>
            </a:endParaRPr>
          </a:p>
        </p:txBody>
      </p:sp>
    </p:spTree>
    <p:extLst>
      <p:ext uri="{BB962C8B-B14F-4D97-AF65-F5344CB8AC3E}">
        <p14:creationId xmlns:p14="http://schemas.microsoft.com/office/powerpoint/2010/main" val="501809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BB94B-541B-772A-6D39-4D7E01290EF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3933183-D841-0BFE-8974-79CE892C533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5ADB4E7-BAA6-4468-DC2B-E4CD975363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0896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e-NP"/>
          </a:p>
        </p:txBody>
      </p:sp>
      <p:sp>
        <p:nvSpPr>
          <p:cNvPr id="4" name="Slide Number Placeholder 3"/>
          <p:cNvSpPr>
            <a:spLocks noGrp="1"/>
          </p:cNvSpPr>
          <p:nvPr>
            <p:ph type="sldNum" sz="quarter" idx="5"/>
          </p:nvPr>
        </p:nvSpPr>
        <p:spPr/>
        <p:txBody>
          <a:bodyPr/>
          <a:lstStyle/>
          <a:p>
            <a:fld id="{220EB820-8336-42F0-9B22-A9E5E23490C3}" type="slidenum">
              <a:rPr lang="ne-NP" smtClean="0"/>
              <a:t>13</a:t>
            </a:fld>
            <a:endParaRPr lang="ne-NP"/>
          </a:p>
        </p:txBody>
      </p:sp>
    </p:spTree>
    <p:extLst>
      <p:ext uri="{BB962C8B-B14F-4D97-AF65-F5344CB8AC3E}">
        <p14:creationId xmlns:p14="http://schemas.microsoft.com/office/powerpoint/2010/main" val="342806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67533-5107-2203-D355-591034F660A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D0B6CB6-E4EC-C0A3-78ED-AD510C8DE69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7AE14F3-C6AA-9943-E803-AE3BD7797D81}"/>
              </a:ext>
            </a:extLst>
          </p:cNvPr>
          <p:cNvSpPr>
            <a:spLocks noGrp="1"/>
          </p:cNvSpPr>
          <p:nvPr>
            <p:ph type="body" idx="1"/>
          </p:nvPr>
        </p:nvSpPr>
        <p:spPr/>
        <p:txBody>
          <a:bodyPr/>
          <a:lstStyle/>
          <a:p>
            <a:endParaRPr lang="ne-NP" dirty="0"/>
          </a:p>
        </p:txBody>
      </p:sp>
      <p:sp>
        <p:nvSpPr>
          <p:cNvPr id="4" name="Plassholder for lysbildenummer 3">
            <a:extLst>
              <a:ext uri="{FF2B5EF4-FFF2-40B4-BE49-F238E27FC236}">
                <a16:creationId xmlns:a16="http://schemas.microsoft.com/office/drawing/2014/main" id="{ED39E20F-528E-59DB-021D-5816FD7148B4}"/>
              </a:ext>
            </a:extLst>
          </p:cNvPr>
          <p:cNvSpPr>
            <a:spLocks noGrp="1"/>
          </p:cNvSpPr>
          <p:nvPr>
            <p:ph type="sldNum" sz="quarter" idx="5"/>
          </p:nvPr>
        </p:nvSpPr>
        <p:spPr/>
        <p:txBody>
          <a:bodyPr/>
          <a:lstStyle/>
          <a:p>
            <a:fld id="{5A837381-9E51-4B3D-8E40-BE3801A33C86}" type="slidenum">
              <a:rPr lang="ne-NP" smtClean="0"/>
              <a:t>14</a:t>
            </a:fld>
            <a:endParaRPr lang="ne-NP"/>
          </a:p>
        </p:txBody>
      </p:sp>
    </p:spTree>
    <p:extLst>
      <p:ext uri="{BB962C8B-B14F-4D97-AF65-F5344CB8AC3E}">
        <p14:creationId xmlns:p14="http://schemas.microsoft.com/office/powerpoint/2010/main" val="39602643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BC8D0-FF82-831B-E230-C81E8972B89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1B6CE73-57FB-3E2F-DE8D-18BD1DF7C5C9}"/>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A81A4C3-C5CF-C5BB-FC46-EDD8165F1485}"/>
              </a:ext>
            </a:extLst>
          </p:cNvPr>
          <p:cNvSpPr>
            <a:spLocks noGrp="1"/>
          </p:cNvSpPr>
          <p:nvPr>
            <p:ph type="body" idx="1"/>
          </p:nvPr>
        </p:nvSpPr>
        <p:spPr/>
        <p:txBody>
          <a:bodyPr/>
          <a:lstStyle/>
          <a:p>
            <a:r>
              <a:rPr lang="en-US"/>
              <a:t>Ola</a:t>
            </a:r>
            <a:endParaRPr lang="nb-NO"/>
          </a:p>
        </p:txBody>
      </p:sp>
      <p:sp>
        <p:nvSpPr>
          <p:cNvPr id="4" name="Plassholder for lysbildenummer 3">
            <a:extLst>
              <a:ext uri="{FF2B5EF4-FFF2-40B4-BE49-F238E27FC236}">
                <a16:creationId xmlns:a16="http://schemas.microsoft.com/office/drawing/2014/main" id="{8B781764-00D4-3046-365E-DB1DD806D3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837381-9E51-4B3D-8E40-BE3801A33C86}"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2667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e-NP"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837381-9E51-4B3D-8E40-BE3801A33C86}" type="slidenum">
              <a:rPr kumimoji="0" lang="ne-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e-NP"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44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220EB820-8336-42F0-9B22-A9E5E23490C3}" type="slidenum">
              <a:rPr lang="nb-NO" smtClean="0"/>
              <a:t>4</a:t>
            </a:fld>
            <a:endParaRPr lang="nb-NO"/>
          </a:p>
        </p:txBody>
      </p:sp>
    </p:spTree>
    <p:extLst>
      <p:ext uri="{BB962C8B-B14F-4D97-AF65-F5344CB8AC3E}">
        <p14:creationId xmlns:p14="http://schemas.microsoft.com/office/powerpoint/2010/main" val="2624194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220EB820-8336-42F0-9B22-A9E5E23490C3}" type="slidenum">
              <a:rPr lang="nb-NO" smtClean="0"/>
              <a:t>5</a:t>
            </a:fld>
            <a:endParaRPr lang="nb-NO"/>
          </a:p>
        </p:txBody>
      </p:sp>
    </p:spTree>
    <p:extLst>
      <p:ext uri="{BB962C8B-B14F-4D97-AF65-F5344CB8AC3E}">
        <p14:creationId xmlns:p14="http://schemas.microsoft.com/office/powerpoint/2010/main" val="1324334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B4A55CF2-256D-44FD-9430-5B63A079CF51}" type="slidenum">
              <a:rPr lang="nb-NO" smtClean="0"/>
              <a:t>6</a:t>
            </a:fld>
            <a:endParaRPr lang="nb-NO" dirty="0"/>
          </a:p>
        </p:txBody>
      </p:sp>
    </p:spTree>
    <p:extLst>
      <p:ext uri="{BB962C8B-B14F-4D97-AF65-F5344CB8AC3E}">
        <p14:creationId xmlns:p14="http://schemas.microsoft.com/office/powerpoint/2010/main" val="1626132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837381-9E51-4B3D-8E40-BE3801A33C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913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3048E-7DEA-17DC-FA73-E0EBA6EDC34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27BEA44-BC3F-A304-1375-8145EF4D43F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BF6A9-2D30-E3C3-3F6B-1F671DFCD68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74437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lvl="0" indent="0" algn="l" defTabSz="914400">
              <a:lnSpc>
                <a:spcPct val="100000"/>
              </a:lnSpc>
              <a:spcBef>
                <a:spcPts val="0"/>
              </a:spcBef>
              <a:spcAft>
                <a:spcPts val="0"/>
              </a:spcAft>
              <a:buClrTx/>
              <a:buSzTx/>
              <a:buFontTx/>
              <a:buNone/>
              <a:tabLst/>
              <a:defRPr/>
            </a:pPr>
            <a:endParaRPr lang="nb-NO" sz="1200" b="0" i="0" u="none" strike="noStrike" kern="1200" cap="none" spc="0" normalizeH="0" baseline="0" noProof="0" dirty="0">
              <a:ln>
                <a:noFill/>
              </a:ln>
              <a:solidFill>
                <a:srgbClr val="00383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837381-9E51-4B3D-8E40-BE3801A33C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896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1.jpe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6.bin"/><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emf"/><Relationship Id="rId9"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7.bin"/><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emf"/><Relationship Id="rId9"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8.bin"/><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emf"/><Relationship Id="rId9"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9.bin"/><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emf"/><Relationship Id="rId9"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oleObject" Target="../embeddings/oleObject24.bin"/><Relationship Id="rId7"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10693400" cy="7562850"/>
            <a:chOff x="0" y="0"/>
            <a:chExt cx="5760" cy="4320"/>
          </a:xfrm>
        </p:grpSpPr>
        <p:sp>
          <p:nvSpPr>
            <p:cNvPr id="5" name="Rectangle 3"/>
            <p:cNvSpPr>
              <a:spLocks noChangeArrowheads="1"/>
            </p:cNvSpPr>
            <p:nvPr/>
          </p:nvSpPr>
          <p:spPr bwMode="hidden">
            <a:xfrm>
              <a:off x="0" y="0"/>
              <a:ext cx="2208" cy="4320"/>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defRPr/>
              </a:pPr>
              <a:endParaRPr lang="en-US" sz="2105">
                <a:latin typeface="Times New Roman" pitchFamily="18" charset="0"/>
              </a:endParaRPr>
            </a:p>
          </p:txBody>
        </p:sp>
        <p:sp>
          <p:nvSpPr>
            <p:cNvPr id="6" name="Rectangle 4"/>
            <p:cNvSpPr>
              <a:spLocks noChangeArrowheads="1"/>
            </p:cNvSpPr>
            <p:nvPr/>
          </p:nvSpPr>
          <p:spPr bwMode="hidden">
            <a:xfrm>
              <a:off x="1081" y="1065"/>
              <a:ext cx="4679" cy="1596"/>
            </a:xfrm>
            <a:prstGeom prst="rect">
              <a:avLst/>
            </a:prstGeom>
            <a:solidFill>
              <a:schemeClr val="bg2"/>
            </a:solidFill>
            <a:ln w="9525">
              <a:noFill/>
              <a:miter lim="800000"/>
              <a:headEnd/>
              <a:tailEnd/>
            </a:ln>
          </p:spPr>
          <p:txBody>
            <a:bodyPr/>
            <a:lstStyle/>
            <a:p>
              <a:pPr>
                <a:defRPr/>
              </a:pPr>
              <a:endParaRPr lang="en-US" sz="2105">
                <a:latin typeface="Times New Roman" pitchFamily="18" charset="0"/>
              </a:endParaRPr>
            </a:p>
          </p:txBody>
        </p:sp>
        <p:grpSp>
          <p:nvGrpSpPr>
            <p:cNvPr id="7" name="Group 5"/>
            <p:cNvGrpSpPr>
              <a:grpSpLocks/>
            </p:cNvGrpSpPr>
            <p:nvPr/>
          </p:nvGrpSpPr>
          <p:grpSpPr bwMode="auto">
            <a:xfrm>
              <a:off x="0" y="672"/>
              <a:ext cx="1806" cy="1989"/>
              <a:chOff x="0" y="672"/>
              <a:chExt cx="1806" cy="1989"/>
            </a:xfrm>
          </p:grpSpPr>
          <p:sp>
            <p:nvSpPr>
              <p:cNvPr id="8" name="Rectangle 6"/>
              <p:cNvSpPr>
                <a:spLocks noChangeArrowheads="1"/>
              </p:cNvSpPr>
              <p:nvPr/>
            </p:nvSpPr>
            <p:spPr bwMode="auto">
              <a:xfrm>
                <a:off x="361" y="2257"/>
                <a:ext cx="363" cy="404"/>
              </a:xfrm>
              <a:prstGeom prst="rect">
                <a:avLst/>
              </a:prstGeom>
              <a:solidFill>
                <a:schemeClr val="accent2"/>
              </a:solidFill>
              <a:ln w="9525">
                <a:noFill/>
                <a:miter lim="800000"/>
                <a:headEnd/>
                <a:tailEnd/>
              </a:ln>
            </p:spPr>
            <p:txBody>
              <a:bodyPr/>
              <a:lstStyle/>
              <a:p>
                <a:pPr>
                  <a:defRPr/>
                </a:pPr>
                <a:endParaRPr lang="en-US" sz="2105">
                  <a:latin typeface="Times New Roman" pitchFamily="18" charset="0"/>
                </a:endParaRPr>
              </a:p>
            </p:txBody>
          </p:sp>
          <p:sp>
            <p:nvSpPr>
              <p:cNvPr id="9" name="Rectangle 7"/>
              <p:cNvSpPr>
                <a:spLocks noChangeArrowheads="1"/>
              </p:cNvSpPr>
              <p:nvPr/>
            </p:nvSpPr>
            <p:spPr bwMode="auto">
              <a:xfrm>
                <a:off x="1081" y="1065"/>
                <a:ext cx="362" cy="405"/>
              </a:xfrm>
              <a:prstGeom prst="rect">
                <a:avLst/>
              </a:prstGeom>
              <a:solidFill>
                <a:schemeClr val="folHlink"/>
              </a:solidFill>
              <a:ln w="9525">
                <a:noFill/>
                <a:miter lim="800000"/>
                <a:headEnd/>
                <a:tailEnd/>
              </a:ln>
            </p:spPr>
            <p:txBody>
              <a:bodyPr/>
              <a:lstStyle/>
              <a:p>
                <a:pPr>
                  <a:defRPr/>
                </a:pPr>
                <a:endParaRPr lang="en-US" sz="2105">
                  <a:latin typeface="Times New Roman" pitchFamily="18" charset="0"/>
                </a:endParaRPr>
              </a:p>
            </p:txBody>
          </p:sp>
          <p:sp>
            <p:nvSpPr>
              <p:cNvPr id="10" name="Rectangle 8"/>
              <p:cNvSpPr>
                <a:spLocks noChangeArrowheads="1"/>
              </p:cNvSpPr>
              <p:nvPr/>
            </p:nvSpPr>
            <p:spPr bwMode="auto">
              <a:xfrm>
                <a:off x="1437" y="672"/>
                <a:ext cx="369" cy="400"/>
              </a:xfrm>
              <a:prstGeom prst="rect">
                <a:avLst/>
              </a:prstGeom>
              <a:solidFill>
                <a:schemeClr val="folHlink"/>
              </a:solidFill>
              <a:ln w="9525">
                <a:noFill/>
                <a:miter lim="800000"/>
                <a:headEnd/>
                <a:tailEnd/>
              </a:ln>
            </p:spPr>
            <p:txBody>
              <a:bodyPr/>
              <a:lstStyle/>
              <a:p>
                <a:pPr>
                  <a:defRPr/>
                </a:pPr>
                <a:endParaRPr lang="en-US" sz="2105">
                  <a:latin typeface="Times New Roman" pitchFamily="18" charset="0"/>
                </a:endParaRPr>
              </a:p>
            </p:txBody>
          </p:sp>
          <p:sp>
            <p:nvSpPr>
              <p:cNvPr id="11" name="Rectangle 9"/>
              <p:cNvSpPr>
                <a:spLocks noChangeArrowheads="1"/>
              </p:cNvSpPr>
              <p:nvPr/>
            </p:nvSpPr>
            <p:spPr bwMode="auto">
              <a:xfrm>
                <a:off x="719" y="2257"/>
                <a:ext cx="368" cy="404"/>
              </a:xfrm>
              <a:prstGeom prst="rect">
                <a:avLst/>
              </a:prstGeom>
              <a:solidFill>
                <a:schemeClr val="bg2"/>
              </a:solidFill>
              <a:ln w="9525">
                <a:noFill/>
                <a:miter lim="800000"/>
                <a:headEnd/>
                <a:tailEnd/>
              </a:ln>
            </p:spPr>
            <p:txBody>
              <a:bodyPr/>
              <a:lstStyle/>
              <a:p>
                <a:pPr>
                  <a:defRPr/>
                </a:pPr>
                <a:endParaRPr lang="en-US" sz="2105">
                  <a:latin typeface="Times New Roman" pitchFamily="18" charset="0"/>
                </a:endParaRPr>
              </a:p>
            </p:txBody>
          </p:sp>
          <p:sp>
            <p:nvSpPr>
              <p:cNvPr id="12" name="Rectangle 10"/>
              <p:cNvSpPr>
                <a:spLocks noChangeArrowheads="1"/>
              </p:cNvSpPr>
              <p:nvPr/>
            </p:nvSpPr>
            <p:spPr bwMode="auto">
              <a:xfrm>
                <a:off x="1437" y="1065"/>
                <a:ext cx="369" cy="405"/>
              </a:xfrm>
              <a:prstGeom prst="rect">
                <a:avLst/>
              </a:prstGeom>
              <a:solidFill>
                <a:schemeClr val="accent2"/>
              </a:solidFill>
              <a:ln w="9525">
                <a:noFill/>
                <a:miter lim="800000"/>
                <a:headEnd/>
                <a:tailEnd/>
              </a:ln>
            </p:spPr>
            <p:txBody>
              <a:bodyPr/>
              <a:lstStyle/>
              <a:p>
                <a:pPr>
                  <a:defRPr/>
                </a:pPr>
                <a:endParaRPr lang="en-US" sz="2105">
                  <a:latin typeface="Times New Roman" pitchFamily="18" charset="0"/>
                </a:endParaRPr>
              </a:p>
            </p:txBody>
          </p:sp>
          <p:sp>
            <p:nvSpPr>
              <p:cNvPr id="13" name="Rectangle 11"/>
              <p:cNvSpPr>
                <a:spLocks noChangeArrowheads="1"/>
              </p:cNvSpPr>
              <p:nvPr/>
            </p:nvSpPr>
            <p:spPr bwMode="auto">
              <a:xfrm>
                <a:off x="719" y="1464"/>
                <a:ext cx="368" cy="399"/>
              </a:xfrm>
              <a:prstGeom prst="rect">
                <a:avLst/>
              </a:prstGeom>
              <a:solidFill>
                <a:schemeClr val="folHlink"/>
              </a:solidFill>
              <a:ln w="9525">
                <a:noFill/>
                <a:miter lim="800000"/>
                <a:headEnd/>
                <a:tailEnd/>
              </a:ln>
            </p:spPr>
            <p:txBody>
              <a:bodyPr/>
              <a:lstStyle/>
              <a:p>
                <a:pPr>
                  <a:defRPr/>
                </a:pPr>
                <a:endParaRPr lang="en-US" sz="2105">
                  <a:latin typeface="Times New Roman" pitchFamily="18" charset="0"/>
                </a:endParaRPr>
              </a:p>
            </p:txBody>
          </p:sp>
          <p:sp>
            <p:nvSpPr>
              <p:cNvPr id="14" name="Rectangle 12"/>
              <p:cNvSpPr>
                <a:spLocks noChangeArrowheads="1"/>
              </p:cNvSpPr>
              <p:nvPr/>
            </p:nvSpPr>
            <p:spPr bwMode="auto">
              <a:xfrm>
                <a:off x="0" y="1464"/>
                <a:ext cx="367" cy="399"/>
              </a:xfrm>
              <a:prstGeom prst="rect">
                <a:avLst/>
              </a:prstGeom>
              <a:solidFill>
                <a:schemeClr val="bg2"/>
              </a:solidFill>
              <a:ln w="9525">
                <a:noFill/>
                <a:miter lim="800000"/>
                <a:headEnd/>
                <a:tailEnd/>
              </a:ln>
            </p:spPr>
            <p:txBody>
              <a:bodyPr/>
              <a:lstStyle/>
              <a:p>
                <a:pPr>
                  <a:defRPr/>
                </a:pPr>
                <a:endParaRPr lang="en-US" sz="2105">
                  <a:latin typeface="Times New Roman" pitchFamily="18" charset="0"/>
                </a:endParaRPr>
              </a:p>
            </p:txBody>
          </p:sp>
          <p:sp>
            <p:nvSpPr>
              <p:cNvPr id="15" name="Rectangle 13"/>
              <p:cNvSpPr>
                <a:spLocks noChangeArrowheads="1"/>
              </p:cNvSpPr>
              <p:nvPr/>
            </p:nvSpPr>
            <p:spPr bwMode="auto">
              <a:xfrm>
                <a:off x="1081" y="1464"/>
                <a:ext cx="362" cy="399"/>
              </a:xfrm>
              <a:prstGeom prst="rect">
                <a:avLst/>
              </a:prstGeom>
              <a:solidFill>
                <a:schemeClr val="accent2"/>
              </a:solidFill>
              <a:ln w="9525">
                <a:noFill/>
                <a:miter lim="800000"/>
                <a:headEnd/>
                <a:tailEnd/>
              </a:ln>
            </p:spPr>
            <p:txBody>
              <a:bodyPr/>
              <a:lstStyle/>
              <a:p>
                <a:pPr>
                  <a:defRPr/>
                </a:pPr>
                <a:endParaRPr lang="en-US" sz="2105">
                  <a:latin typeface="Times New Roman" pitchFamily="18" charset="0"/>
                </a:endParaRPr>
              </a:p>
            </p:txBody>
          </p:sp>
          <p:sp>
            <p:nvSpPr>
              <p:cNvPr id="16" name="Rectangle 14"/>
              <p:cNvSpPr>
                <a:spLocks noChangeArrowheads="1"/>
              </p:cNvSpPr>
              <p:nvPr/>
            </p:nvSpPr>
            <p:spPr bwMode="auto">
              <a:xfrm>
                <a:off x="361" y="1857"/>
                <a:ext cx="363" cy="406"/>
              </a:xfrm>
              <a:prstGeom prst="rect">
                <a:avLst/>
              </a:prstGeom>
              <a:solidFill>
                <a:schemeClr val="folHlink"/>
              </a:solidFill>
              <a:ln w="9525">
                <a:noFill/>
                <a:miter lim="800000"/>
                <a:headEnd/>
                <a:tailEnd/>
              </a:ln>
            </p:spPr>
            <p:txBody>
              <a:bodyPr/>
              <a:lstStyle/>
              <a:p>
                <a:pPr>
                  <a:defRPr/>
                </a:pPr>
                <a:endParaRPr lang="en-US" sz="2105">
                  <a:latin typeface="Times New Roman" pitchFamily="18" charset="0"/>
                </a:endParaRPr>
              </a:p>
            </p:txBody>
          </p:sp>
          <p:sp>
            <p:nvSpPr>
              <p:cNvPr id="17" name="Rectangle 15"/>
              <p:cNvSpPr>
                <a:spLocks noChangeArrowheads="1"/>
              </p:cNvSpPr>
              <p:nvPr/>
            </p:nvSpPr>
            <p:spPr bwMode="auto">
              <a:xfrm>
                <a:off x="719" y="1857"/>
                <a:ext cx="368" cy="406"/>
              </a:xfrm>
              <a:prstGeom prst="rect">
                <a:avLst/>
              </a:prstGeom>
              <a:solidFill>
                <a:schemeClr val="accent2"/>
              </a:solidFill>
              <a:ln w="9525">
                <a:noFill/>
                <a:miter lim="800000"/>
                <a:headEnd/>
                <a:tailEnd/>
              </a:ln>
            </p:spPr>
            <p:txBody>
              <a:bodyPr/>
              <a:lstStyle/>
              <a:p>
                <a:pPr>
                  <a:defRPr/>
                </a:pPr>
                <a:endParaRPr lang="en-US" sz="2105">
                  <a:latin typeface="Times New Roman" pitchFamily="18" charset="0"/>
                </a:endParaRPr>
              </a:p>
            </p:txBody>
          </p:sp>
        </p:grpSp>
      </p:grpSp>
      <p:sp>
        <p:nvSpPr>
          <p:cNvPr id="141331" name="Rectangle 19"/>
          <p:cNvSpPr>
            <a:spLocks noGrp="1" noChangeArrowheads="1"/>
          </p:cNvSpPr>
          <p:nvPr>
            <p:ph type="ctrTitle"/>
          </p:nvPr>
        </p:nvSpPr>
        <p:spPr>
          <a:xfrm>
            <a:off x="3475355" y="2016760"/>
            <a:ext cx="7039822" cy="2436918"/>
          </a:xfrm>
        </p:spPr>
        <p:txBody>
          <a:bodyPr/>
          <a:lstStyle>
            <a:lvl1pPr>
              <a:defRPr sz="4386">
                <a:solidFill>
                  <a:srgbClr val="FFFFFF"/>
                </a:solidFill>
              </a:defRPr>
            </a:lvl1pPr>
          </a:lstStyle>
          <a:p>
            <a:r>
              <a:rPr lang="en-US"/>
              <a:t>Click to edit Master title style</a:t>
            </a:r>
          </a:p>
        </p:txBody>
      </p:sp>
      <p:sp>
        <p:nvSpPr>
          <p:cNvPr id="141332" name="Rectangle 20"/>
          <p:cNvSpPr>
            <a:spLocks noGrp="1" noChangeArrowheads="1"/>
          </p:cNvSpPr>
          <p:nvPr>
            <p:ph type="subTitle" idx="1"/>
          </p:nvPr>
        </p:nvSpPr>
        <p:spPr>
          <a:xfrm>
            <a:off x="3475355" y="4705774"/>
            <a:ext cx="7039822" cy="1932728"/>
          </a:xfrm>
        </p:spPr>
        <p:txBody>
          <a:bodyPr/>
          <a:lstStyle>
            <a:lvl1pPr marL="0" indent="0">
              <a:buFont typeface="Wingdings" pitchFamily="2" charset="2"/>
              <a:buNone/>
              <a:defRPr sz="2982"/>
            </a:lvl1pPr>
          </a:lstStyle>
          <a:p>
            <a:r>
              <a:rPr lang="en-US"/>
              <a:t>Click to edit Master subtitle style</a:t>
            </a:r>
          </a:p>
        </p:txBody>
      </p:sp>
      <p:sp>
        <p:nvSpPr>
          <p:cNvPr id="18" name="Rectangle 16"/>
          <p:cNvSpPr>
            <a:spLocks noGrp="1" noChangeArrowheads="1"/>
          </p:cNvSpPr>
          <p:nvPr>
            <p:ph type="dt" sz="half" idx="10"/>
          </p:nvPr>
        </p:nvSpPr>
        <p:spPr>
          <a:xfrm>
            <a:off x="534670" y="6890597"/>
            <a:ext cx="2495127" cy="504190"/>
          </a:xfrm>
        </p:spPr>
        <p:txBody>
          <a:bodyPr/>
          <a:lstStyle>
            <a:lvl1pPr>
              <a:defRPr/>
            </a:lvl1pPr>
          </a:lstStyle>
          <a:p>
            <a:pPr>
              <a:defRPr/>
            </a:pPr>
            <a:endParaRPr lang="en-US"/>
          </a:p>
        </p:txBody>
      </p:sp>
      <p:sp>
        <p:nvSpPr>
          <p:cNvPr id="19" name="Rectangle 17"/>
          <p:cNvSpPr>
            <a:spLocks noGrp="1" noChangeArrowheads="1"/>
          </p:cNvSpPr>
          <p:nvPr>
            <p:ph type="ftr" sz="quarter" idx="11"/>
          </p:nvPr>
        </p:nvSpPr>
        <p:spPr>
          <a:xfrm>
            <a:off x="3653579" y="6890597"/>
            <a:ext cx="3386243" cy="504190"/>
          </a:xfrm>
        </p:spPr>
        <p:txBody>
          <a:bodyPr/>
          <a:lstStyle>
            <a:lvl1pPr>
              <a:defRPr b="0">
                <a:solidFill>
                  <a:schemeClr val="tx1"/>
                </a:solidFill>
                <a:latin typeface="+mn-lt"/>
              </a:defRPr>
            </a:lvl1pPr>
          </a:lstStyle>
          <a:p>
            <a:pPr>
              <a:defRPr/>
            </a:pPr>
            <a:r>
              <a:rPr lang="en-US"/>
              <a:t>NfN - NORSK NETTVERK FOR NÆRINGSEIENDOM Norwegian Real Estate and Facility Management Network</a:t>
            </a:r>
          </a:p>
        </p:txBody>
      </p:sp>
      <p:sp>
        <p:nvSpPr>
          <p:cNvPr id="20" name="Rectangle 18"/>
          <p:cNvSpPr>
            <a:spLocks noGrp="1" noChangeArrowheads="1"/>
          </p:cNvSpPr>
          <p:nvPr>
            <p:ph type="sldNum" sz="quarter" idx="12"/>
          </p:nvPr>
        </p:nvSpPr>
        <p:spPr>
          <a:xfrm>
            <a:off x="7663603" y="6890597"/>
            <a:ext cx="2495127" cy="504190"/>
          </a:xfrm>
        </p:spPr>
        <p:txBody>
          <a:bodyPr/>
          <a:lstStyle>
            <a:lvl1pPr>
              <a:defRPr>
                <a:solidFill>
                  <a:schemeClr val="tx1"/>
                </a:solidFill>
              </a:defRPr>
            </a:lvl1pPr>
          </a:lstStyle>
          <a:p>
            <a:pPr>
              <a:defRPr/>
            </a:pPr>
            <a:fld id="{589895AD-AB67-4ABA-87BD-CB0853E6DF40}" type="slidenum">
              <a:rPr lang="en-US"/>
              <a:pPr>
                <a:defRPr/>
              </a:pPr>
              <a:t>‹#›</a:t>
            </a:fld>
            <a:endParaRPr lang="en-US"/>
          </a:p>
        </p:txBody>
      </p:sp>
    </p:spTree>
    <p:extLst>
      <p:ext uri="{BB962C8B-B14F-4D97-AF65-F5344CB8AC3E}">
        <p14:creationId xmlns:p14="http://schemas.microsoft.com/office/powerpoint/2010/main" val="611336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5" name="Slide Number Placeholder 4"/>
          <p:cNvSpPr>
            <a:spLocks noGrp="1"/>
          </p:cNvSpPr>
          <p:nvPr>
            <p:ph type="sldNum" sz="quarter" idx="11"/>
          </p:nvPr>
        </p:nvSpPr>
        <p:spPr/>
        <p:txBody>
          <a:bodyPr/>
          <a:lstStyle>
            <a:lvl1pPr>
              <a:defRPr/>
            </a:lvl1pPr>
          </a:lstStyle>
          <a:p>
            <a:pPr>
              <a:defRPr/>
            </a:pPr>
            <a:fld id="{7AB3B317-63D3-494F-B64A-E79E7B2121F7}" type="slidenum">
              <a:rPr lang="en-US"/>
              <a:pPr>
                <a:defRPr/>
              </a:pPr>
              <a:t>‹#›</a:t>
            </a:fld>
            <a:endParaRPr lang="en-US"/>
          </a:p>
        </p:txBody>
      </p:sp>
      <p:sp>
        <p:nvSpPr>
          <p:cNvPr id="6" name="Date Placeholder 5"/>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3421025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52715" y="504190"/>
            <a:ext cx="2406015" cy="596624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4670" y="504190"/>
            <a:ext cx="7039822" cy="596624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5" name="Slide Number Placeholder 4"/>
          <p:cNvSpPr>
            <a:spLocks noGrp="1"/>
          </p:cNvSpPr>
          <p:nvPr>
            <p:ph type="sldNum" sz="quarter" idx="11"/>
          </p:nvPr>
        </p:nvSpPr>
        <p:spPr/>
        <p:txBody>
          <a:bodyPr/>
          <a:lstStyle>
            <a:lvl1pPr>
              <a:defRPr/>
            </a:lvl1pPr>
          </a:lstStyle>
          <a:p>
            <a:pPr>
              <a:defRPr/>
            </a:pPr>
            <a:fld id="{92D2F7FA-F07E-4CD7-B3DE-3F8683E06D8E}" type="slidenum">
              <a:rPr lang="en-US"/>
              <a:pPr>
                <a:defRPr/>
              </a:pPr>
              <a:t>‹#›</a:t>
            </a:fld>
            <a:endParaRPr lang="en-US"/>
          </a:p>
        </p:txBody>
      </p:sp>
      <p:sp>
        <p:nvSpPr>
          <p:cNvPr id="6" name="Date Placeholder 5"/>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42901948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34670" y="504190"/>
            <a:ext cx="9624060" cy="5966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4" name="Slide Number Placeholder 3"/>
          <p:cNvSpPr>
            <a:spLocks noGrp="1"/>
          </p:cNvSpPr>
          <p:nvPr>
            <p:ph type="sldNum" sz="quarter" idx="11"/>
          </p:nvPr>
        </p:nvSpPr>
        <p:spPr/>
        <p:txBody>
          <a:bodyPr/>
          <a:lstStyle>
            <a:lvl1pPr>
              <a:defRPr/>
            </a:lvl1pPr>
          </a:lstStyle>
          <a:p>
            <a:pPr>
              <a:defRPr/>
            </a:pPr>
            <a:fld id="{D2414C12-0497-4289-AB5C-4983EB45CF18}" type="slidenum">
              <a:rPr lang="en-US"/>
              <a:pPr>
                <a:defRPr/>
              </a:pPr>
              <a:t>‹#›</a:t>
            </a:fld>
            <a:endParaRPr lang="en-US"/>
          </a:p>
        </p:txBody>
      </p:sp>
      <p:sp>
        <p:nvSpPr>
          <p:cNvPr id="5" name="Date Placeholder 4"/>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34405562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01 Startside">
    <p:spTree>
      <p:nvGrpSpPr>
        <p:cNvPr id="1" name=""/>
        <p:cNvGrpSpPr/>
        <p:nvPr/>
      </p:nvGrpSpPr>
      <p:grpSpPr>
        <a:xfrm>
          <a:off x="0" y="0"/>
          <a:ext cx="0" cy="0"/>
          <a:chOff x="0" y="0"/>
          <a:chExt cx="0" cy="0"/>
        </a:xfrm>
      </p:grpSpPr>
      <p:pic>
        <p:nvPicPr>
          <p:cNvPr id="16" name="Bilde 15">
            <a:extLst>
              <a:ext uri="{FF2B5EF4-FFF2-40B4-BE49-F238E27FC236}">
                <a16:creationId xmlns:a16="http://schemas.microsoft.com/office/drawing/2014/main" id="{8F5273AF-F2B5-3244-A335-B4250EFED754}"/>
              </a:ext>
            </a:extLst>
          </p:cNvPr>
          <p:cNvPicPr>
            <a:picLocks noChangeAspect="1"/>
          </p:cNvPicPr>
          <p:nvPr userDrawn="1"/>
        </p:nvPicPr>
        <p:blipFill>
          <a:blip r:embed="rId2"/>
          <a:stretch>
            <a:fillRect/>
          </a:stretch>
        </p:blipFill>
        <p:spPr>
          <a:xfrm>
            <a:off x="9005848" y="437687"/>
            <a:ext cx="1345895" cy="244432"/>
          </a:xfrm>
          <a:prstGeom prst="rect">
            <a:avLst/>
          </a:prstGeom>
        </p:spPr>
      </p:pic>
      <p:sp>
        <p:nvSpPr>
          <p:cNvPr id="19" name="Tittel 15">
            <a:extLst>
              <a:ext uri="{FF2B5EF4-FFF2-40B4-BE49-F238E27FC236}">
                <a16:creationId xmlns:a16="http://schemas.microsoft.com/office/drawing/2014/main" id="{6391C75A-22BE-8840-B107-96FB3AB08F40}"/>
              </a:ext>
            </a:extLst>
          </p:cNvPr>
          <p:cNvSpPr>
            <a:spLocks noGrp="1"/>
          </p:cNvSpPr>
          <p:nvPr>
            <p:ph type="title" hasCustomPrompt="1"/>
          </p:nvPr>
        </p:nvSpPr>
        <p:spPr>
          <a:xfrm>
            <a:off x="735170" y="1742744"/>
            <a:ext cx="9223059" cy="2038681"/>
          </a:xfrm>
          <a:prstGeom prst="rect">
            <a:avLst/>
          </a:prstGeom>
        </p:spPr>
        <p:txBody>
          <a:bodyPr lIns="90000" anchor="b" anchorCtr="0"/>
          <a:lstStyle/>
          <a:p>
            <a:r>
              <a:rPr lang="nb-NO"/>
              <a:t>Klikk for å legge til tittel</a:t>
            </a:r>
          </a:p>
        </p:txBody>
      </p:sp>
      <p:sp>
        <p:nvSpPr>
          <p:cNvPr id="30" name="Plassholder for dato 29">
            <a:extLst>
              <a:ext uri="{FF2B5EF4-FFF2-40B4-BE49-F238E27FC236}">
                <a16:creationId xmlns:a16="http://schemas.microsoft.com/office/drawing/2014/main" id="{6B836F52-8A58-F140-BBAC-45D1F1C5FD9B}"/>
              </a:ext>
            </a:extLst>
          </p:cNvPr>
          <p:cNvSpPr>
            <a:spLocks noGrp="1"/>
          </p:cNvSpPr>
          <p:nvPr>
            <p:ph type="dt" sz="half" idx="11"/>
          </p:nvPr>
        </p:nvSpPr>
        <p:spPr/>
        <p:txBody>
          <a:bodyPr/>
          <a:lstStyle/>
          <a:p>
            <a:fld id="{5D1E4789-263B-8442-876C-A4909C10904E}" type="datetimeFigureOut">
              <a:rPr lang="nb-NO" smtClean="0"/>
              <a:pPr/>
              <a:t>19.11.2025</a:t>
            </a:fld>
            <a:endParaRPr lang="nb-NO"/>
          </a:p>
        </p:txBody>
      </p:sp>
      <p:sp>
        <p:nvSpPr>
          <p:cNvPr id="31" name="Plassholder for bunntekst 30">
            <a:extLst>
              <a:ext uri="{FF2B5EF4-FFF2-40B4-BE49-F238E27FC236}">
                <a16:creationId xmlns:a16="http://schemas.microsoft.com/office/drawing/2014/main" id="{B51DE252-6458-5A4A-AC04-38B677D373DD}"/>
              </a:ext>
            </a:extLst>
          </p:cNvPr>
          <p:cNvSpPr>
            <a:spLocks noGrp="1"/>
          </p:cNvSpPr>
          <p:nvPr>
            <p:ph type="ftr" sz="quarter" idx="12"/>
          </p:nvPr>
        </p:nvSpPr>
        <p:spPr>
          <a:xfrm>
            <a:off x="3542189" y="7009642"/>
            <a:ext cx="3609023" cy="402652"/>
          </a:xfrm>
          <a:prstGeom prst="rect">
            <a:avLst/>
          </a:prstGeom>
        </p:spPr>
        <p:txBody>
          <a:bodyPr/>
          <a:lstStyle/>
          <a:p>
            <a:r>
              <a:rPr lang="nb-NO"/>
              <a:t>Multiconsult</a:t>
            </a:r>
          </a:p>
        </p:txBody>
      </p:sp>
      <p:sp>
        <p:nvSpPr>
          <p:cNvPr id="32" name="Plassholder for lysbildenummer 31">
            <a:extLst>
              <a:ext uri="{FF2B5EF4-FFF2-40B4-BE49-F238E27FC236}">
                <a16:creationId xmlns:a16="http://schemas.microsoft.com/office/drawing/2014/main" id="{2B2A7109-291E-B94B-8BA6-DCD21855EC92}"/>
              </a:ext>
            </a:extLst>
          </p:cNvPr>
          <p:cNvSpPr>
            <a:spLocks noGrp="1"/>
          </p:cNvSpPr>
          <p:nvPr>
            <p:ph type="sldNum" sz="quarter" idx="13"/>
          </p:nvPr>
        </p:nvSpPr>
        <p:spPr/>
        <p:txBody>
          <a:bodyPr/>
          <a:lstStyle/>
          <a:p>
            <a:fld id="{8DD1003B-289A-594B-BE3C-BAD8A86B5A48}" type="slidenum">
              <a:rPr lang="nb-NO" smtClean="0"/>
              <a:pPr/>
              <a:t>‹#›</a:t>
            </a:fld>
            <a:endParaRPr lang="nb-NO"/>
          </a:p>
        </p:txBody>
      </p:sp>
      <p:sp>
        <p:nvSpPr>
          <p:cNvPr id="35" name="Rettvinklet trekant 27">
            <a:extLst>
              <a:ext uri="{FF2B5EF4-FFF2-40B4-BE49-F238E27FC236}">
                <a16:creationId xmlns:a16="http://schemas.microsoft.com/office/drawing/2014/main" id="{57F93B44-48F6-FE46-B420-192290C0914F}"/>
              </a:ext>
            </a:extLst>
          </p:cNvPr>
          <p:cNvSpPr>
            <a:spLocks noChangeAspect="1"/>
          </p:cNvSpPr>
          <p:nvPr userDrawn="1"/>
        </p:nvSpPr>
        <p:spPr>
          <a:xfrm rot="10800000">
            <a:off x="10248661" y="6579066"/>
            <a:ext cx="444739" cy="983784"/>
          </a:xfrm>
          <a:custGeom>
            <a:avLst/>
            <a:gdLst>
              <a:gd name="connsiteX0" fmla="*/ 0 w 5408504"/>
              <a:gd name="connsiteY0" fmla="*/ 5408504 h 5408504"/>
              <a:gd name="connsiteX1" fmla="*/ 0 w 5408504"/>
              <a:gd name="connsiteY1" fmla="*/ 0 h 5408504"/>
              <a:gd name="connsiteX2" fmla="*/ 5408504 w 5408504"/>
              <a:gd name="connsiteY2" fmla="*/ 5408504 h 5408504"/>
              <a:gd name="connsiteX3" fmla="*/ 0 w 5408504"/>
              <a:gd name="connsiteY3" fmla="*/ 5408504 h 5408504"/>
              <a:gd name="connsiteX0" fmla="*/ 0 w 3187818"/>
              <a:gd name="connsiteY0" fmla="*/ 5408504 h 5408504"/>
              <a:gd name="connsiteX1" fmla="*/ 0 w 3187818"/>
              <a:gd name="connsiteY1" fmla="*/ 0 h 5408504"/>
              <a:gd name="connsiteX2" fmla="*/ 3187818 w 3187818"/>
              <a:gd name="connsiteY2" fmla="*/ 481 h 5408504"/>
              <a:gd name="connsiteX3" fmla="*/ 0 w 3187818"/>
              <a:gd name="connsiteY3" fmla="*/ 5408504 h 5408504"/>
              <a:gd name="connsiteX0" fmla="*/ 0 w 2927468"/>
              <a:gd name="connsiteY0" fmla="*/ 5408504 h 5408504"/>
              <a:gd name="connsiteX1" fmla="*/ 0 w 2927468"/>
              <a:gd name="connsiteY1" fmla="*/ 0 h 5408504"/>
              <a:gd name="connsiteX2" fmla="*/ 2927468 w 2927468"/>
              <a:gd name="connsiteY2" fmla="*/ 244956 h 5408504"/>
              <a:gd name="connsiteX3" fmla="*/ 0 w 2927468"/>
              <a:gd name="connsiteY3" fmla="*/ 5408504 h 5408504"/>
              <a:gd name="connsiteX0" fmla="*/ 0 w 3181468"/>
              <a:gd name="connsiteY0" fmla="*/ 5408504 h 5408504"/>
              <a:gd name="connsiteX1" fmla="*/ 0 w 3181468"/>
              <a:gd name="connsiteY1" fmla="*/ 0 h 5408504"/>
              <a:gd name="connsiteX2" fmla="*/ 3181468 w 3181468"/>
              <a:gd name="connsiteY2" fmla="*/ 481 h 5408504"/>
              <a:gd name="connsiteX3" fmla="*/ 0 w 3181468"/>
              <a:gd name="connsiteY3" fmla="*/ 5408504 h 5408504"/>
              <a:gd name="connsiteX0" fmla="*/ 0 w 1752079"/>
              <a:gd name="connsiteY0" fmla="*/ 5408504 h 5408504"/>
              <a:gd name="connsiteX1" fmla="*/ 0 w 1752079"/>
              <a:gd name="connsiteY1" fmla="*/ 0 h 5408504"/>
              <a:gd name="connsiteX2" fmla="*/ 1752079 w 1752079"/>
              <a:gd name="connsiteY2" fmla="*/ 481 h 5408504"/>
              <a:gd name="connsiteX3" fmla="*/ 0 w 1752079"/>
              <a:gd name="connsiteY3" fmla="*/ 5408504 h 5408504"/>
              <a:gd name="connsiteX0" fmla="*/ 0 w 3065571"/>
              <a:gd name="connsiteY0" fmla="*/ 5408504 h 5408504"/>
              <a:gd name="connsiteX1" fmla="*/ 0 w 3065571"/>
              <a:gd name="connsiteY1" fmla="*/ 0 h 5408504"/>
              <a:gd name="connsiteX2" fmla="*/ 3065571 w 3065571"/>
              <a:gd name="connsiteY2" fmla="*/ 481 h 5408504"/>
              <a:gd name="connsiteX3" fmla="*/ 0 w 3065571"/>
              <a:gd name="connsiteY3" fmla="*/ 5408504 h 5408504"/>
              <a:gd name="connsiteX0" fmla="*/ 0 w 3084887"/>
              <a:gd name="connsiteY0" fmla="*/ 5427339 h 5427339"/>
              <a:gd name="connsiteX1" fmla="*/ 0 w 3084887"/>
              <a:gd name="connsiteY1" fmla="*/ 18835 h 5427339"/>
              <a:gd name="connsiteX2" fmla="*/ 3084887 w 3084887"/>
              <a:gd name="connsiteY2" fmla="*/ 0 h 5427339"/>
              <a:gd name="connsiteX3" fmla="*/ 0 w 3084887"/>
              <a:gd name="connsiteY3" fmla="*/ 5427339 h 5427339"/>
            </a:gdLst>
            <a:ahLst/>
            <a:cxnLst>
              <a:cxn ang="0">
                <a:pos x="connsiteX0" y="connsiteY0"/>
              </a:cxn>
              <a:cxn ang="0">
                <a:pos x="connsiteX1" y="connsiteY1"/>
              </a:cxn>
              <a:cxn ang="0">
                <a:pos x="connsiteX2" y="connsiteY2"/>
              </a:cxn>
              <a:cxn ang="0">
                <a:pos x="connsiteX3" y="connsiteY3"/>
              </a:cxn>
            </a:cxnLst>
            <a:rect l="l" t="t" r="r" b="b"/>
            <a:pathLst>
              <a:path w="3084887" h="5427339">
                <a:moveTo>
                  <a:pt x="0" y="5427339"/>
                </a:moveTo>
                <a:lnTo>
                  <a:pt x="0" y="18835"/>
                </a:lnTo>
                <a:lnTo>
                  <a:pt x="3084887" y="0"/>
                </a:lnTo>
                <a:lnTo>
                  <a:pt x="0" y="5427339"/>
                </a:lnTo>
                <a:close/>
              </a:path>
            </a:pathLst>
          </a:custGeom>
          <a:gradFill>
            <a:gsLst>
              <a:gs pos="100000">
                <a:srgbClr val="FFDF00">
                  <a:lumMod val="100000"/>
                  <a:alpha val="95000"/>
                </a:srgbClr>
              </a:gs>
              <a:gs pos="32000">
                <a:schemeClr val="accent2"/>
              </a:gs>
            </a:gsLst>
            <a:lin ang="6600000" scaled="0"/>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b-NO"/>
          </a:p>
        </p:txBody>
      </p:sp>
      <p:sp>
        <p:nvSpPr>
          <p:cNvPr id="36" name="Rettvinklet trekant 27">
            <a:extLst>
              <a:ext uri="{FF2B5EF4-FFF2-40B4-BE49-F238E27FC236}">
                <a16:creationId xmlns:a16="http://schemas.microsoft.com/office/drawing/2014/main" id="{4E6C0877-AF38-C849-94B3-1A7ADE8798A4}"/>
              </a:ext>
            </a:extLst>
          </p:cNvPr>
          <p:cNvSpPr>
            <a:spLocks noChangeAspect="1"/>
          </p:cNvSpPr>
          <p:nvPr userDrawn="1"/>
        </p:nvSpPr>
        <p:spPr>
          <a:xfrm>
            <a:off x="-5141" y="-7757"/>
            <a:ext cx="444739" cy="983784"/>
          </a:xfrm>
          <a:custGeom>
            <a:avLst/>
            <a:gdLst>
              <a:gd name="connsiteX0" fmla="*/ 0 w 5408504"/>
              <a:gd name="connsiteY0" fmla="*/ 5408504 h 5408504"/>
              <a:gd name="connsiteX1" fmla="*/ 0 w 5408504"/>
              <a:gd name="connsiteY1" fmla="*/ 0 h 5408504"/>
              <a:gd name="connsiteX2" fmla="*/ 5408504 w 5408504"/>
              <a:gd name="connsiteY2" fmla="*/ 5408504 h 5408504"/>
              <a:gd name="connsiteX3" fmla="*/ 0 w 5408504"/>
              <a:gd name="connsiteY3" fmla="*/ 5408504 h 5408504"/>
              <a:gd name="connsiteX0" fmla="*/ 0 w 3187818"/>
              <a:gd name="connsiteY0" fmla="*/ 5408504 h 5408504"/>
              <a:gd name="connsiteX1" fmla="*/ 0 w 3187818"/>
              <a:gd name="connsiteY1" fmla="*/ 0 h 5408504"/>
              <a:gd name="connsiteX2" fmla="*/ 3187818 w 3187818"/>
              <a:gd name="connsiteY2" fmla="*/ 481 h 5408504"/>
              <a:gd name="connsiteX3" fmla="*/ 0 w 3187818"/>
              <a:gd name="connsiteY3" fmla="*/ 5408504 h 5408504"/>
              <a:gd name="connsiteX0" fmla="*/ 0 w 2927468"/>
              <a:gd name="connsiteY0" fmla="*/ 5408504 h 5408504"/>
              <a:gd name="connsiteX1" fmla="*/ 0 w 2927468"/>
              <a:gd name="connsiteY1" fmla="*/ 0 h 5408504"/>
              <a:gd name="connsiteX2" fmla="*/ 2927468 w 2927468"/>
              <a:gd name="connsiteY2" fmla="*/ 244956 h 5408504"/>
              <a:gd name="connsiteX3" fmla="*/ 0 w 2927468"/>
              <a:gd name="connsiteY3" fmla="*/ 5408504 h 5408504"/>
              <a:gd name="connsiteX0" fmla="*/ 0 w 3181468"/>
              <a:gd name="connsiteY0" fmla="*/ 5408504 h 5408504"/>
              <a:gd name="connsiteX1" fmla="*/ 0 w 3181468"/>
              <a:gd name="connsiteY1" fmla="*/ 0 h 5408504"/>
              <a:gd name="connsiteX2" fmla="*/ 3181468 w 3181468"/>
              <a:gd name="connsiteY2" fmla="*/ 481 h 5408504"/>
              <a:gd name="connsiteX3" fmla="*/ 0 w 3181468"/>
              <a:gd name="connsiteY3" fmla="*/ 5408504 h 5408504"/>
              <a:gd name="connsiteX0" fmla="*/ 0 w 1752079"/>
              <a:gd name="connsiteY0" fmla="*/ 5408504 h 5408504"/>
              <a:gd name="connsiteX1" fmla="*/ 0 w 1752079"/>
              <a:gd name="connsiteY1" fmla="*/ 0 h 5408504"/>
              <a:gd name="connsiteX2" fmla="*/ 1752079 w 1752079"/>
              <a:gd name="connsiteY2" fmla="*/ 481 h 5408504"/>
              <a:gd name="connsiteX3" fmla="*/ 0 w 1752079"/>
              <a:gd name="connsiteY3" fmla="*/ 5408504 h 5408504"/>
              <a:gd name="connsiteX0" fmla="*/ 0 w 3065571"/>
              <a:gd name="connsiteY0" fmla="*/ 5408504 h 5408504"/>
              <a:gd name="connsiteX1" fmla="*/ 0 w 3065571"/>
              <a:gd name="connsiteY1" fmla="*/ 0 h 5408504"/>
              <a:gd name="connsiteX2" fmla="*/ 3065571 w 3065571"/>
              <a:gd name="connsiteY2" fmla="*/ 481 h 5408504"/>
              <a:gd name="connsiteX3" fmla="*/ 0 w 3065571"/>
              <a:gd name="connsiteY3" fmla="*/ 5408504 h 5408504"/>
              <a:gd name="connsiteX0" fmla="*/ 0 w 3084887"/>
              <a:gd name="connsiteY0" fmla="*/ 5427339 h 5427339"/>
              <a:gd name="connsiteX1" fmla="*/ 0 w 3084887"/>
              <a:gd name="connsiteY1" fmla="*/ 18835 h 5427339"/>
              <a:gd name="connsiteX2" fmla="*/ 3084887 w 3084887"/>
              <a:gd name="connsiteY2" fmla="*/ 0 h 5427339"/>
              <a:gd name="connsiteX3" fmla="*/ 0 w 3084887"/>
              <a:gd name="connsiteY3" fmla="*/ 5427339 h 5427339"/>
            </a:gdLst>
            <a:ahLst/>
            <a:cxnLst>
              <a:cxn ang="0">
                <a:pos x="connsiteX0" y="connsiteY0"/>
              </a:cxn>
              <a:cxn ang="0">
                <a:pos x="connsiteX1" y="connsiteY1"/>
              </a:cxn>
              <a:cxn ang="0">
                <a:pos x="connsiteX2" y="connsiteY2"/>
              </a:cxn>
              <a:cxn ang="0">
                <a:pos x="connsiteX3" y="connsiteY3"/>
              </a:cxn>
            </a:cxnLst>
            <a:rect l="l" t="t" r="r" b="b"/>
            <a:pathLst>
              <a:path w="3084887" h="5427339">
                <a:moveTo>
                  <a:pt x="0" y="5427339"/>
                </a:moveTo>
                <a:lnTo>
                  <a:pt x="0" y="18835"/>
                </a:lnTo>
                <a:lnTo>
                  <a:pt x="3084887" y="0"/>
                </a:lnTo>
                <a:lnTo>
                  <a:pt x="0" y="5427339"/>
                </a:lnTo>
                <a:close/>
              </a:path>
            </a:pathLst>
          </a:custGeom>
          <a:gradFill>
            <a:gsLst>
              <a:gs pos="100000">
                <a:srgbClr val="FFDF00">
                  <a:lumMod val="100000"/>
                  <a:alpha val="95000"/>
                </a:srgbClr>
              </a:gs>
              <a:gs pos="33000">
                <a:schemeClr val="accent2"/>
              </a:gs>
            </a:gsLst>
            <a:lin ang="6600000" scaled="0"/>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b-NO"/>
          </a:p>
        </p:txBody>
      </p:sp>
      <p:sp>
        <p:nvSpPr>
          <p:cNvPr id="7" name="Plassholder for tekst 6">
            <a:extLst>
              <a:ext uri="{FF2B5EF4-FFF2-40B4-BE49-F238E27FC236}">
                <a16:creationId xmlns:a16="http://schemas.microsoft.com/office/drawing/2014/main" id="{0971C6C0-857A-5844-B4C5-44CAFC8C1FFB}"/>
              </a:ext>
            </a:extLst>
          </p:cNvPr>
          <p:cNvSpPr>
            <a:spLocks noGrp="1"/>
          </p:cNvSpPr>
          <p:nvPr>
            <p:ph type="body" sz="quarter" idx="14" hasCustomPrompt="1"/>
          </p:nvPr>
        </p:nvSpPr>
        <p:spPr>
          <a:xfrm>
            <a:off x="735171" y="3879463"/>
            <a:ext cx="9223058" cy="2699517"/>
          </a:xfrm>
        </p:spPr>
        <p:txBody>
          <a:bodyPr lIns="90000"/>
          <a:lstStyle/>
          <a:p>
            <a:pPr lvl="0"/>
            <a:r>
              <a:rPr lang="nb-NO"/>
              <a:t>Klikk for å legge til brødtekst</a:t>
            </a:r>
          </a:p>
        </p:txBody>
      </p:sp>
    </p:spTree>
    <p:extLst>
      <p:ext uri="{BB962C8B-B14F-4D97-AF65-F5344CB8AC3E}">
        <p14:creationId xmlns:p14="http://schemas.microsoft.com/office/powerpoint/2010/main" val="725030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rside #1">
    <p:bg>
      <p:bgPr>
        <a:solidFill>
          <a:schemeClr val="accent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70490B2-596C-0080-6AFE-3F675A55DEE3}"/>
              </a:ext>
            </a:extLst>
          </p:cNvPr>
          <p:cNvGraphicFramePr>
            <a:graphicFrameLocks noChangeAspect="1"/>
          </p:cNvGraphicFramePr>
          <p:nvPr userDrawn="1">
            <p:custDataLst>
              <p:tags r:id="rId1"/>
            </p:custDataLst>
            <p:extLst>
              <p:ext uri="{D42A27DB-BD31-4B8C-83A1-F6EECF244321}">
                <p14:modId xmlns:p14="http://schemas.microsoft.com/office/powerpoint/2010/main" val="139549107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2" name="think-cell data - do not delete" hidden="1">
                        <a:extLst>
                          <a:ext uri="{FF2B5EF4-FFF2-40B4-BE49-F238E27FC236}">
                            <a16:creationId xmlns:a16="http://schemas.microsoft.com/office/drawing/2014/main" id="{370490B2-596C-0080-6AFE-3F675A55DEE3}"/>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6" name="Grafikk 5">
            <a:extLst>
              <a:ext uri="{FF2B5EF4-FFF2-40B4-BE49-F238E27FC236}">
                <a16:creationId xmlns:a16="http://schemas.microsoft.com/office/drawing/2014/main" id="{ADC5BB2D-2E4C-F007-546F-20C1F4184C9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6572" y="1398426"/>
            <a:ext cx="6166528" cy="3015181"/>
          </a:xfrm>
          <a:prstGeom prst="rect">
            <a:avLst/>
          </a:prstGeom>
        </p:spPr>
      </p:pic>
      <p:sp>
        <p:nvSpPr>
          <p:cNvPr id="7" name="Plassholder for tekst 7">
            <a:extLst>
              <a:ext uri="{FF2B5EF4-FFF2-40B4-BE49-F238E27FC236}">
                <a16:creationId xmlns:a16="http://schemas.microsoft.com/office/drawing/2014/main" id="{91654F1A-522D-6A6D-6C40-4C2222B8B8EB}"/>
              </a:ext>
            </a:extLst>
          </p:cNvPr>
          <p:cNvSpPr>
            <a:spLocks noGrp="1"/>
          </p:cNvSpPr>
          <p:nvPr>
            <p:ph type="body" sz="quarter" idx="11" hasCustomPrompt="1"/>
          </p:nvPr>
        </p:nvSpPr>
        <p:spPr>
          <a:xfrm>
            <a:off x="5441382" y="3900470"/>
            <a:ext cx="5020885" cy="1587849"/>
          </a:xfrm>
          <a:prstGeom prst="rect">
            <a:avLst/>
          </a:prstGeom>
        </p:spPr>
        <p:txBody>
          <a:bodyPr lIns="72000" tIns="0" rIns="0" bIns="0"/>
          <a:lstStyle>
            <a:lvl1pPr marL="0" indent="0">
              <a:lnSpc>
                <a:spcPct val="105000"/>
              </a:lnSpc>
              <a:spcBef>
                <a:spcPts val="0"/>
              </a:spcBef>
              <a:buFontTx/>
              <a:buNone/>
              <a:defRPr sz="2938">
                <a:solidFill>
                  <a:schemeClr val="accent2"/>
                </a:solidFill>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noProof="0"/>
              <a:t>Tittel på presentasjon</a:t>
            </a:r>
          </a:p>
          <a:p>
            <a:pPr lvl="0"/>
            <a:r>
              <a:rPr lang="nb-NO" noProof="0" err="1"/>
              <a:t>Evt</a:t>
            </a:r>
            <a:r>
              <a:rPr lang="nb-NO" noProof="0"/>
              <a:t> dato</a:t>
            </a:r>
          </a:p>
        </p:txBody>
      </p:sp>
    </p:spTree>
    <p:extLst>
      <p:ext uri="{BB962C8B-B14F-4D97-AF65-F5344CB8AC3E}">
        <p14:creationId xmlns:p14="http://schemas.microsoft.com/office/powerpoint/2010/main" val="1215153806"/>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chemeClr val="accent1"/>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DC5BB2D-2E4C-F007-546F-20C1F4184C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6572" y="1398426"/>
            <a:ext cx="6166528" cy="3015181"/>
          </a:xfrm>
          <a:prstGeom prst="rect">
            <a:avLst/>
          </a:prstGeom>
        </p:spPr>
      </p:pic>
      <p:sp>
        <p:nvSpPr>
          <p:cNvPr id="7" name="Plassholder for tekst 7">
            <a:extLst>
              <a:ext uri="{FF2B5EF4-FFF2-40B4-BE49-F238E27FC236}">
                <a16:creationId xmlns:a16="http://schemas.microsoft.com/office/drawing/2014/main" id="{91654F1A-522D-6A6D-6C40-4C2222B8B8EB}"/>
              </a:ext>
            </a:extLst>
          </p:cNvPr>
          <p:cNvSpPr>
            <a:spLocks noGrp="1"/>
          </p:cNvSpPr>
          <p:nvPr>
            <p:ph type="body" sz="quarter" idx="11" hasCustomPrompt="1"/>
          </p:nvPr>
        </p:nvSpPr>
        <p:spPr>
          <a:xfrm>
            <a:off x="5441382" y="3900470"/>
            <a:ext cx="5020885" cy="1587849"/>
          </a:xfrm>
          <a:prstGeom prst="rect">
            <a:avLst/>
          </a:prstGeom>
        </p:spPr>
        <p:txBody>
          <a:bodyPr lIns="72000" tIns="0" rIns="0" bIns="0"/>
          <a:lstStyle>
            <a:lvl1pPr marL="0" indent="0">
              <a:lnSpc>
                <a:spcPct val="105000"/>
              </a:lnSpc>
              <a:spcBef>
                <a:spcPts val="0"/>
              </a:spcBef>
              <a:buFontTx/>
              <a:buNone/>
              <a:defRPr sz="2938">
                <a:solidFill>
                  <a:schemeClr val="accent2"/>
                </a:solidFill>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noProof="0"/>
              <a:t>Tittel på presentasjon</a:t>
            </a:r>
          </a:p>
          <a:p>
            <a:pPr lvl="0"/>
            <a:r>
              <a:rPr lang="nb-NO" noProof="0" err="1"/>
              <a:t>Evt</a:t>
            </a:r>
            <a:r>
              <a:rPr lang="nb-NO" noProof="0"/>
              <a:t> dato</a:t>
            </a:r>
          </a:p>
        </p:txBody>
      </p:sp>
      <p:sp>
        <p:nvSpPr>
          <p:cNvPr id="3" name="Plassholder for bilde 13">
            <a:extLst>
              <a:ext uri="{FF2B5EF4-FFF2-40B4-BE49-F238E27FC236}">
                <a16:creationId xmlns:a16="http://schemas.microsoft.com/office/drawing/2014/main" id="{49C79256-4B4B-98CB-AEAA-14B2CA14622E}"/>
              </a:ext>
            </a:extLst>
          </p:cNvPr>
          <p:cNvSpPr>
            <a:spLocks noGrp="1"/>
          </p:cNvSpPr>
          <p:nvPr>
            <p:ph type="pic" sz="quarter" idx="18" hasCustomPrompt="1"/>
          </p:nvPr>
        </p:nvSpPr>
        <p:spPr>
          <a:xfrm>
            <a:off x="5441381" y="248594"/>
            <a:ext cx="5020885" cy="3413786"/>
          </a:xfrm>
          <a:prstGeom prst="roundRect">
            <a:avLst>
              <a:gd name="adj" fmla="val 1637"/>
            </a:avLst>
          </a:prstGeom>
          <a:noFill/>
        </p:spPr>
        <p:txBody>
          <a:bodyPr wrap="square">
            <a:noAutofit/>
          </a:bodyPr>
          <a:lstStyle>
            <a:lvl1pPr marL="0" indent="0">
              <a:buNone/>
              <a:defRPr sz="2105">
                <a:solidFill>
                  <a:schemeClr val="bg1">
                    <a:lumMod val="75000"/>
                  </a:schemeClr>
                </a:solidFill>
              </a:defRPr>
            </a:lvl1pPr>
          </a:lstStyle>
          <a:p>
            <a:r>
              <a:rPr lang="nb-NO"/>
              <a:t>Sett inn bilde her via “Sett inn” -&gt; “Bilder”</a:t>
            </a:r>
            <a:br>
              <a:rPr lang="nb-NO"/>
            </a:br>
            <a:r>
              <a:rPr lang="nb-NO"/>
              <a:t>Alternativt: marker boksen -&gt; </a:t>
            </a:r>
            <a:r>
              <a:rPr lang="nb-NO" err="1"/>
              <a:t>ctrl+V</a:t>
            </a:r>
            <a:endParaRPr lang="nb-NO"/>
          </a:p>
        </p:txBody>
      </p:sp>
    </p:spTree>
    <p:extLst>
      <p:ext uri="{BB962C8B-B14F-4D97-AF65-F5344CB8AC3E}">
        <p14:creationId xmlns:p14="http://schemas.microsoft.com/office/powerpoint/2010/main" val="867378109"/>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rside #3">
    <p:bg>
      <p:bgPr>
        <a:solidFill>
          <a:schemeClr val="tx1"/>
        </a:solidFill>
        <a:effectLst/>
      </p:bgPr>
    </p:bg>
    <p:spTree>
      <p:nvGrpSpPr>
        <p:cNvPr id="1" name=""/>
        <p:cNvGrpSpPr/>
        <p:nvPr/>
      </p:nvGrpSpPr>
      <p:grpSpPr>
        <a:xfrm>
          <a:off x="0" y="0"/>
          <a:ext cx="0" cy="0"/>
          <a:chOff x="0" y="0"/>
          <a:chExt cx="0" cy="0"/>
        </a:xfrm>
      </p:grpSpPr>
      <p:sp>
        <p:nvSpPr>
          <p:cNvPr id="7" name="Plassholder for tekst 7">
            <a:extLst>
              <a:ext uri="{FF2B5EF4-FFF2-40B4-BE49-F238E27FC236}">
                <a16:creationId xmlns:a16="http://schemas.microsoft.com/office/drawing/2014/main" id="{91654F1A-522D-6A6D-6C40-4C2222B8B8EB}"/>
              </a:ext>
            </a:extLst>
          </p:cNvPr>
          <p:cNvSpPr>
            <a:spLocks noGrp="1"/>
          </p:cNvSpPr>
          <p:nvPr>
            <p:ph type="body" sz="quarter" idx="11" hasCustomPrompt="1"/>
          </p:nvPr>
        </p:nvSpPr>
        <p:spPr>
          <a:xfrm>
            <a:off x="5441382" y="3900470"/>
            <a:ext cx="5020885" cy="1587849"/>
          </a:xfrm>
          <a:prstGeom prst="rect">
            <a:avLst/>
          </a:prstGeom>
        </p:spPr>
        <p:txBody>
          <a:bodyPr lIns="72000" tIns="0" rIns="0" bIns="0"/>
          <a:lstStyle>
            <a:lvl1pPr marL="0" indent="0">
              <a:lnSpc>
                <a:spcPct val="105000"/>
              </a:lnSpc>
              <a:spcBef>
                <a:spcPts val="0"/>
              </a:spcBef>
              <a:buFontTx/>
              <a:buNone/>
              <a:defRPr sz="2938">
                <a:solidFill>
                  <a:schemeClr val="bg1"/>
                </a:solidFill>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noProof="0"/>
              <a:t>Tittel på presentasjon</a:t>
            </a:r>
          </a:p>
          <a:p>
            <a:pPr lvl="0"/>
            <a:r>
              <a:rPr lang="nb-NO" noProof="0" err="1"/>
              <a:t>Evt</a:t>
            </a:r>
            <a:r>
              <a:rPr lang="nb-NO" noProof="0"/>
              <a:t> dato</a:t>
            </a:r>
          </a:p>
        </p:txBody>
      </p:sp>
      <p:pic>
        <p:nvPicPr>
          <p:cNvPr id="4" name="Grafikk 3">
            <a:extLst>
              <a:ext uri="{FF2B5EF4-FFF2-40B4-BE49-F238E27FC236}">
                <a16:creationId xmlns:a16="http://schemas.microsoft.com/office/drawing/2014/main" id="{0D6A7C4B-5604-6DEC-63DC-0E59D7B553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11001" y="2962256"/>
            <a:ext cx="1896964" cy="927538"/>
          </a:xfrm>
          <a:prstGeom prst="rect">
            <a:avLst/>
          </a:prstGeom>
        </p:spPr>
      </p:pic>
    </p:spTree>
    <p:extLst>
      <p:ext uri="{BB962C8B-B14F-4D97-AF65-F5344CB8AC3E}">
        <p14:creationId xmlns:p14="http://schemas.microsoft.com/office/powerpoint/2010/main" val="3406768228"/>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DC5BB2D-2E4C-F007-546F-20C1F4184C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6572" y="1398426"/>
            <a:ext cx="6166528" cy="3015181"/>
          </a:xfrm>
          <a:prstGeom prst="rect">
            <a:avLst/>
          </a:prstGeom>
        </p:spPr>
      </p:pic>
      <p:sp>
        <p:nvSpPr>
          <p:cNvPr id="7" name="Plassholder for tekst 7">
            <a:extLst>
              <a:ext uri="{FF2B5EF4-FFF2-40B4-BE49-F238E27FC236}">
                <a16:creationId xmlns:a16="http://schemas.microsoft.com/office/drawing/2014/main" id="{91654F1A-522D-6A6D-6C40-4C2222B8B8EB}"/>
              </a:ext>
            </a:extLst>
          </p:cNvPr>
          <p:cNvSpPr>
            <a:spLocks noGrp="1"/>
          </p:cNvSpPr>
          <p:nvPr>
            <p:ph type="body" sz="quarter" idx="11" hasCustomPrompt="1"/>
          </p:nvPr>
        </p:nvSpPr>
        <p:spPr>
          <a:xfrm>
            <a:off x="5441382" y="3900470"/>
            <a:ext cx="5020885" cy="1587849"/>
          </a:xfrm>
          <a:prstGeom prst="rect">
            <a:avLst/>
          </a:prstGeom>
        </p:spPr>
        <p:txBody>
          <a:bodyPr lIns="72000" tIns="0" rIns="0" bIns="0"/>
          <a:lstStyle>
            <a:lvl1pPr marL="0" indent="0">
              <a:lnSpc>
                <a:spcPct val="105000"/>
              </a:lnSpc>
              <a:spcBef>
                <a:spcPts val="0"/>
              </a:spcBef>
              <a:buFontTx/>
              <a:buNone/>
              <a:defRPr sz="2938">
                <a:solidFill>
                  <a:schemeClr val="tx1"/>
                </a:solidFill>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noProof="0"/>
              <a:t>Tittel på presentasjon</a:t>
            </a:r>
          </a:p>
          <a:p>
            <a:pPr lvl="0"/>
            <a:r>
              <a:rPr lang="nb-NO" noProof="0" err="1"/>
              <a:t>Evt</a:t>
            </a:r>
            <a:r>
              <a:rPr lang="nb-NO" noProof="0"/>
              <a:t> dato</a:t>
            </a:r>
          </a:p>
        </p:txBody>
      </p:sp>
      <p:sp>
        <p:nvSpPr>
          <p:cNvPr id="3" name="Plassholder for bilde 13">
            <a:extLst>
              <a:ext uri="{FF2B5EF4-FFF2-40B4-BE49-F238E27FC236}">
                <a16:creationId xmlns:a16="http://schemas.microsoft.com/office/drawing/2014/main" id="{49C79256-4B4B-98CB-AEAA-14B2CA14622E}"/>
              </a:ext>
            </a:extLst>
          </p:cNvPr>
          <p:cNvSpPr>
            <a:spLocks noGrp="1"/>
          </p:cNvSpPr>
          <p:nvPr>
            <p:ph type="pic" sz="quarter" idx="18" hasCustomPrompt="1"/>
          </p:nvPr>
        </p:nvSpPr>
        <p:spPr>
          <a:xfrm>
            <a:off x="5441381" y="248594"/>
            <a:ext cx="5020885" cy="3413786"/>
          </a:xfrm>
          <a:prstGeom prst="roundRect">
            <a:avLst>
              <a:gd name="adj" fmla="val 1637"/>
            </a:avLst>
          </a:prstGeom>
          <a:noFill/>
        </p:spPr>
        <p:txBody>
          <a:bodyPr wrap="square">
            <a:noAutofit/>
          </a:bodyPr>
          <a:lstStyle>
            <a:lvl1pPr marL="0" indent="0">
              <a:buNone/>
              <a:defRPr sz="2105">
                <a:solidFill>
                  <a:schemeClr val="bg1">
                    <a:lumMod val="75000"/>
                  </a:schemeClr>
                </a:solidFill>
              </a:defRPr>
            </a:lvl1pPr>
          </a:lstStyle>
          <a:p>
            <a:r>
              <a:rPr lang="nb-NO"/>
              <a:t>Sett inn bilde her via “Sett inn” -&gt; “Bilder”</a:t>
            </a:r>
            <a:br>
              <a:rPr lang="nb-NO"/>
            </a:br>
            <a:r>
              <a:rPr lang="nb-NO"/>
              <a:t>Alternativt: marker boksen -&gt; </a:t>
            </a:r>
            <a:r>
              <a:rPr lang="nb-NO" err="1"/>
              <a:t>ctrl+V</a:t>
            </a:r>
            <a:endParaRPr lang="nb-NO"/>
          </a:p>
        </p:txBody>
      </p:sp>
    </p:spTree>
    <p:extLst>
      <p:ext uri="{BB962C8B-B14F-4D97-AF65-F5344CB8AC3E}">
        <p14:creationId xmlns:p14="http://schemas.microsoft.com/office/powerpoint/2010/main" val="2543649710"/>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85802E0-FEC0-D0A3-5179-8B3FCB0C752B}"/>
              </a:ext>
            </a:extLst>
          </p:cNvPr>
          <p:cNvGraphicFramePr>
            <a:graphicFrameLocks noChangeAspect="1"/>
          </p:cNvGraphicFramePr>
          <p:nvPr userDrawn="1">
            <p:custDataLst>
              <p:tags r:id="rId1"/>
            </p:custDataLst>
            <p:extLst>
              <p:ext uri="{D42A27DB-BD31-4B8C-83A1-F6EECF244321}">
                <p14:modId xmlns:p14="http://schemas.microsoft.com/office/powerpoint/2010/main" val="274912892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6" name="think-cell data - do not delete" hidden="1">
                        <a:extLst>
                          <a:ext uri="{FF2B5EF4-FFF2-40B4-BE49-F238E27FC236}">
                            <a16:creationId xmlns:a16="http://schemas.microsoft.com/office/drawing/2014/main" id="{B85802E0-FEC0-D0A3-5179-8B3FCB0C752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Plassholder for bilde 13">
            <a:extLst>
              <a:ext uri="{FF2B5EF4-FFF2-40B4-BE49-F238E27FC236}">
                <a16:creationId xmlns:a16="http://schemas.microsoft.com/office/drawing/2014/main" id="{49C79256-4B4B-98CB-AEAA-14B2CA14622E}"/>
              </a:ext>
            </a:extLst>
          </p:cNvPr>
          <p:cNvSpPr>
            <a:spLocks noGrp="1"/>
          </p:cNvSpPr>
          <p:nvPr>
            <p:ph type="pic" sz="quarter" idx="18" hasCustomPrompt="1"/>
          </p:nvPr>
        </p:nvSpPr>
        <p:spPr>
          <a:xfrm>
            <a:off x="0" y="0"/>
            <a:ext cx="10693400" cy="7562850"/>
          </a:xfrm>
          <a:prstGeom prst="rect">
            <a:avLst/>
          </a:prstGeom>
          <a:noFill/>
        </p:spPr>
        <p:txBody>
          <a:bodyPr wrap="square">
            <a:noAutofit/>
          </a:bodyPr>
          <a:lstStyle>
            <a:lvl1pPr marL="0" indent="0">
              <a:buNone/>
              <a:defRPr>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7" name="Plassholder for tekst 6">
            <a:extLst>
              <a:ext uri="{FF2B5EF4-FFF2-40B4-BE49-F238E27FC236}">
                <a16:creationId xmlns:a16="http://schemas.microsoft.com/office/drawing/2014/main" id="{84C63123-3156-A53A-5177-EEB32DBEE129}"/>
              </a:ext>
            </a:extLst>
          </p:cNvPr>
          <p:cNvSpPr>
            <a:spLocks noGrp="1"/>
          </p:cNvSpPr>
          <p:nvPr>
            <p:ph type="body" sz="quarter" idx="20" hasCustomPrompt="1"/>
          </p:nvPr>
        </p:nvSpPr>
        <p:spPr>
          <a:xfrm>
            <a:off x="5346701" y="3781425"/>
            <a:ext cx="3568644" cy="2188325"/>
          </a:xfrm>
          <a:custGeom>
            <a:avLst/>
            <a:gdLst>
              <a:gd name="connsiteX0" fmla="*/ 0 w 4068763"/>
              <a:gd name="connsiteY0" fmla="*/ 0 h 1984375"/>
              <a:gd name="connsiteX1" fmla="*/ 4010165 w 4068763"/>
              <a:gd name="connsiteY1" fmla="*/ 0 h 1984375"/>
              <a:gd name="connsiteX2" fmla="*/ 4064159 w 4068763"/>
              <a:gd name="connsiteY2" fmla="*/ 35790 h 1984375"/>
              <a:gd name="connsiteX3" fmla="*/ 4068763 w 4068763"/>
              <a:gd name="connsiteY3" fmla="*/ 58594 h 1984375"/>
              <a:gd name="connsiteX4" fmla="*/ 4068763 w 4068763"/>
              <a:gd name="connsiteY4" fmla="*/ 1926721 h 1984375"/>
              <a:gd name="connsiteX5" fmla="*/ 4011109 w 4068763"/>
              <a:gd name="connsiteY5" fmla="*/ 1984375 h 1984375"/>
              <a:gd name="connsiteX6" fmla="*/ 57654 w 4068763"/>
              <a:gd name="connsiteY6" fmla="*/ 1984375 h 1984375"/>
              <a:gd name="connsiteX7" fmla="*/ 0 w 4068763"/>
              <a:gd name="connsiteY7" fmla="*/ 1926721 h 198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8763" h="1984375">
                <a:moveTo>
                  <a:pt x="0" y="0"/>
                </a:moveTo>
                <a:lnTo>
                  <a:pt x="4010165" y="0"/>
                </a:lnTo>
                <a:cubicBezTo>
                  <a:pt x="4034437" y="0"/>
                  <a:pt x="4055263" y="14758"/>
                  <a:pt x="4064159" y="35790"/>
                </a:cubicBezTo>
                <a:lnTo>
                  <a:pt x="4068763" y="58594"/>
                </a:lnTo>
                <a:lnTo>
                  <a:pt x="4068763" y="1926721"/>
                </a:lnTo>
                <a:cubicBezTo>
                  <a:pt x="4068763" y="1958562"/>
                  <a:pt x="4042950" y="1984375"/>
                  <a:pt x="4011109" y="1984375"/>
                </a:cubicBezTo>
                <a:lnTo>
                  <a:pt x="57654" y="1984375"/>
                </a:lnTo>
                <a:cubicBezTo>
                  <a:pt x="25813" y="1984375"/>
                  <a:pt x="0" y="1958562"/>
                  <a:pt x="0" y="1926721"/>
                </a:cubicBezTo>
                <a:close/>
              </a:path>
            </a:pathLst>
          </a:custGeom>
          <a:solidFill>
            <a:schemeClr val="tx1"/>
          </a:solidFill>
        </p:spPr>
        <p:txBody>
          <a:bodyPr wrap="square" lIns="216000" tIns="216000" rIns="216000" bIns="216000">
            <a:noAutofit/>
          </a:bodyPr>
          <a:lstStyle>
            <a:lvl1pPr marL="0" indent="0">
              <a:lnSpc>
                <a:spcPct val="105000"/>
              </a:lnSpc>
              <a:spcBef>
                <a:spcPts val="0"/>
              </a:spcBef>
              <a:buNone/>
              <a:defRPr lang="nb-NO" sz="2938" dirty="0" smtClean="0">
                <a:solidFill>
                  <a:schemeClr val="accent2"/>
                </a:solidFill>
                <a:latin typeface="Fold Grotesque Pro Light" panose="020B0303030201040103" pitchFamily="34" charset="0"/>
                <a:cs typeface="Arial" panose="020B0604020202020204" pitchFamily="34" charset="0"/>
              </a:defRPr>
            </a:lvl1pPr>
            <a:lvl2pPr>
              <a:defRPr lang="nb-NO" dirty="0" smtClean="0"/>
            </a:lvl2pPr>
            <a:lvl3pPr>
              <a:defRPr lang="nb-NO" dirty="0" smtClean="0"/>
            </a:lvl3pPr>
            <a:lvl4pPr>
              <a:defRPr lang="nb-NO" dirty="0" smtClean="0"/>
            </a:lvl4pPr>
            <a:lvl5pPr>
              <a:defRPr lang="nb-NO" dirty="0"/>
            </a:lvl5pPr>
          </a:lstStyle>
          <a:p>
            <a:pPr lvl="0"/>
            <a:r>
              <a:rPr lang="nb-NO" noProof="0"/>
              <a:t>Tittel</a:t>
            </a:r>
            <a:br>
              <a:rPr lang="nb-NO" noProof="0"/>
            </a:br>
            <a:r>
              <a:rPr lang="nb-NO" noProof="0" err="1"/>
              <a:t>Evt</a:t>
            </a:r>
            <a:r>
              <a:rPr lang="nb-NO" noProof="0"/>
              <a:t> dato</a:t>
            </a:r>
          </a:p>
        </p:txBody>
      </p:sp>
      <p:sp>
        <p:nvSpPr>
          <p:cNvPr id="20" name="Plassholder for tekst 19">
            <a:extLst>
              <a:ext uri="{FF2B5EF4-FFF2-40B4-BE49-F238E27FC236}">
                <a16:creationId xmlns:a16="http://schemas.microsoft.com/office/drawing/2014/main" id="{4D7C25BC-C188-01C6-AD33-F7EB113B82A0}"/>
              </a:ext>
            </a:extLst>
          </p:cNvPr>
          <p:cNvSpPr>
            <a:spLocks noGrp="1"/>
          </p:cNvSpPr>
          <p:nvPr>
            <p:ph type="body" sz="quarter" idx="24" hasCustomPrompt="1"/>
          </p:nvPr>
        </p:nvSpPr>
        <p:spPr>
          <a:xfrm>
            <a:off x="3442635" y="2828260"/>
            <a:ext cx="1904065" cy="953162"/>
          </a:xfrm>
          <a:custGeom>
            <a:avLst/>
            <a:gdLst>
              <a:gd name="connsiteX0" fmla="*/ 57654 w 2170905"/>
              <a:gd name="connsiteY0" fmla="*/ 0 h 864328"/>
              <a:gd name="connsiteX1" fmla="*/ 2112307 w 2170905"/>
              <a:gd name="connsiteY1" fmla="*/ 0 h 864328"/>
              <a:gd name="connsiteX2" fmla="*/ 2166301 w 2170905"/>
              <a:gd name="connsiteY2" fmla="*/ 35790 h 864328"/>
              <a:gd name="connsiteX3" fmla="*/ 2170905 w 2170905"/>
              <a:gd name="connsiteY3" fmla="*/ 58594 h 864328"/>
              <a:gd name="connsiteX4" fmla="*/ 2170905 w 2170905"/>
              <a:gd name="connsiteY4" fmla="*/ 864328 h 864328"/>
              <a:gd name="connsiteX5" fmla="*/ 57654 w 2170905"/>
              <a:gd name="connsiteY5" fmla="*/ 864328 h 864328"/>
              <a:gd name="connsiteX6" fmla="*/ 0 w 2170905"/>
              <a:gd name="connsiteY6" fmla="*/ 806674 h 864328"/>
              <a:gd name="connsiteX7" fmla="*/ 0 w 2170905"/>
              <a:gd name="connsiteY7" fmla="*/ 57654 h 864328"/>
              <a:gd name="connsiteX8" fmla="*/ 57654 w 2170905"/>
              <a:gd name="connsiteY8" fmla="*/ 0 h 86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905" h="864328">
                <a:moveTo>
                  <a:pt x="57654" y="0"/>
                </a:moveTo>
                <a:lnTo>
                  <a:pt x="2112307" y="0"/>
                </a:lnTo>
                <a:cubicBezTo>
                  <a:pt x="2136579" y="0"/>
                  <a:pt x="2157405" y="14758"/>
                  <a:pt x="2166301" y="35790"/>
                </a:cubicBezTo>
                <a:lnTo>
                  <a:pt x="2170905" y="58594"/>
                </a:lnTo>
                <a:lnTo>
                  <a:pt x="2170905" y="864328"/>
                </a:lnTo>
                <a:lnTo>
                  <a:pt x="57654" y="864328"/>
                </a:lnTo>
                <a:cubicBezTo>
                  <a:pt x="25813" y="864328"/>
                  <a:pt x="0" y="838515"/>
                  <a:pt x="0" y="806674"/>
                </a:cubicBezTo>
                <a:lnTo>
                  <a:pt x="0" y="57654"/>
                </a:lnTo>
                <a:cubicBezTo>
                  <a:pt x="0" y="25813"/>
                  <a:pt x="25813" y="0"/>
                  <a:pt x="57654" y="0"/>
                </a:cubicBezTo>
                <a:close/>
              </a:path>
            </a:pathLst>
          </a:custGeom>
          <a:blipFill>
            <a:blip r:embed="rId5"/>
            <a:stretch>
              <a:fillRect/>
            </a:stretch>
          </a:blipFill>
        </p:spPr>
        <p:txBody>
          <a:bodyPr wrap="square" lIns="216000" tIns="216000" rIns="216000" bIns="216000">
            <a:noAutofit/>
          </a:bodyPr>
          <a:lstStyle>
            <a:lvl1pPr marL="0" indent="0">
              <a:buNone/>
              <a:defRPr lang="nb-NO" sz="2456" dirty="0" smtClean="0">
                <a:solidFill>
                  <a:schemeClr val="bg1"/>
                </a:solidFill>
                <a:latin typeface="Fold Grotesque Pro Light" panose="020B0303030201040103" pitchFamily="34" charset="0"/>
                <a:cs typeface="Arial" panose="020B0604020202020204" pitchFamily="34" charset="0"/>
              </a:defRPr>
            </a:lvl1pPr>
            <a:lvl2pPr>
              <a:defRPr lang="nb-NO" dirty="0" smtClean="0"/>
            </a:lvl2pPr>
            <a:lvl3pPr>
              <a:defRPr lang="nb-NO" dirty="0" smtClean="0"/>
            </a:lvl3pPr>
            <a:lvl4pPr>
              <a:defRPr lang="nb-NO" dirty="0" smtClean="0"/>
            </a:lvl4pPr>
            <a:lvl5pPr>
              <a:defRPr lang="nb-NO" dirty="0"/>
            </a:lvl5pPr>
          </a:lstStyle>
          <a:p>
            <a:pPr marL="200505" lvl="0" indent="-200505">
              <a:lnSpc>
                <a:spcPct val="105000"/>
              </a:lnSpc>
              <a:spcBef>
                <a:spcPts val="0"/>
              </a:spcBef>
            </a:pPr>
            <a:r>
              <a:rPr lang="nb-NO"/>
              <a:t> </a:t>
            </a:r>
          </a:p>
        </p:txBody>
      </p:sp>
    </p:spTree>
    <p:extLst>
      <p:ext uri="{BB962C8B-B14F-4D97-AF65-F5344CB8AC3E}">
        <p14:creationId xmlns:p14="http://schemas.microsoft.com/office/powerpoint/2010/main" val="88049273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rside #6">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85802E0-FEC0-D0A3-5179-8B3FCB0C752B}"/>
              </a:ext>
            </a:extLst>
          </p:cNvPr>
          <p:cNvGraphicFramePr>
            <a:graphicFrameLocks noChangeAspect="1"/>
          </p:cNvGraphicFramePr>
          <p:nvPr userDrawn="1">
            <p:custDataLst>
              <p:tags r:id="rId1"/>
            </p:custDataLst>
            <p:extLst>
              <p:ext uri="{D42A27DB-BD31-4B8C-83A1-F6EECF244321}">
                <p14:modId xmlns:p14="http://schemas.microsoft.com/office/powerpoint/2010/main" val="274912892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6" name="think-cell data - do not delete" hidden="1">
                        <a:extLst>
                          <a:ext uri="{FF2B5EF4-FFF2-40B4-BE49-F238E27FC236}">
                            <a16:creationId xmlns:a16="http://schemas.microsoft.com/office/drawing/2014/main" id="{B85802E0-FEC0-D0A3-5179-8B3FCB0C752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Plassholder for bilde 13">
            <a:extLst>
              <a:ext uri="{FF2B5EF4-FFF2-40B4-BE49-F238E27FC236}">
                <a16:creationId xmlns:a16="http://schemas.microsoft.com/office/drawing/2014/main" id="{49C79256-4B4B-98CB-AEAA-14B2CA14622E}"/>
              </a:ext>
            </a:extLst>
          </p:cNvPr>
          <p:cNvSpPr>
            <a:spLocks noGrp="1"/>
          </p:cNvSpPr>
          <p:nvPr>
            <p:ph type="pic" sz="quarter" idx="18" hasCustomPrompt="1"/>
          </p:nvPr>
        </p:nvSpPr>
        <p:spPr>
          <a:xfrm>
            <a:off x="0" y="0"/>
            <a:ext cx="10693400" cy="7562850"/>
          </a:xfrm>
          <a:prstGeom prst="rect">
            <a:avLst/>
          </a:prstGeom>
          <a:noFill/>
        </p:spPr>
        <p:txBody>
          <a:bodyPr wrap="square">
            <a:noAutofit/>
          </a:bodyPr>
          <a:lstStyle>
            <a:lvl1pPr marL="0" indent="0">
              <a:buNone/>
              <a:defRPr>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16" name="Plassholder for tekst 15">
            <a:extLst>
              <a:ext uri="{FF2B5EF4-FFF2-40B4-BE49-F238E27FC236}">
                <a16:creationId xmlns:a16="http://schemas.microsoft.com/office/drawing/2014/main" id="{4BDD8180-1C28-03A3-8A44-D2980FCB5BF4}"/>
              </a:ext>
            </a:extLst>
          </p:cNvPr>
          <p:cNvSpPr>
            <a:spLocks noGrp="1"/>
          </p:cNvSpPr>
          <p:nvPr>
            <p:ph type="body" sz="quarter" idx="28" hasCustomPrompt="1"/>
          </p:nvPr>
        </p:nvSpPr>
        <p:spPr>
          <a:xfrm>
            <a:off x="1778056" y="3781428"/>
            <a:ext cx="3568644" cy="2188322"/>
          </a:xfrm>
          <a:custGeom>
            <a:avLst/>
            <a:gdLst>
              <a:gd name="connsiteX0" fmla="*/ 58874 w 4068763"/>
              <a:gd name="connsiteY0" fmla="*/ 0 h 1984373"/>
              <a:gd name="connsiteX1" fmla="*/ 2142042 w 4068763"/>
              <a:gd name="connsiteY1" fmla="*/ 0 h 1984373"/>
              <a:gd name="connsiteX2" fmla="*/ 4010165 w 4068763"/>
              <a:gd name="connsiteY2" fmla="*/ 0 h 1984373"/>
              <a:gd name="connsiteX3" fmla="*/ 4068763 w 4068763"/>
              <a:gd name="connsiteY3" fmla="*/ 0 h 1984373"/>
              <a:gd name="connsiteX4" fmla="*/ 4068763 w 4068763"/>
              <a:gd name="connsiteY4" fmla="*/ 58594 h 1984373"/>
              <a:gd name="connsiteX5" fmla="*/ 4068763 w 4068763"/>
              <a:gd name="connsiteY5" fmla="*/ 1728968 h 1984373"/>
              <a:gd name="connsiteX6" fmla="*/ 4068763 w 4068763"/>
              <a:gd name="connsiteY6" fmla="*/ 1926721 h 1984373"/>
              <a:gd name="connsiteX7" fmla="*/ 4033550 w 4068763"/>
              <a:gd name="connsiteY7" fmla="*/ 1979844 h 1984373"/>
              <a:gd name="connsiteX8" fmla="*/ 4011119 w 4068763"/>
              <a:gd name="connsiteY8" fmla="*/ 1984373 h 1984373"/>
              <a:gd name="connsiteX9" fmla="*/ 59848 w 4068763"/>
              <a:gd name="connsiteY9" fmla="*/ 1984373 h 1984373"/>
              <a:gd name="connsiteX10" fmla="*/ 27644 w 4068763"/>
              <a:gd name="connsiteY10" fmla="*/ 1974741 h 1984373"/>
              <a:gd name="connsiteX11" fmla="*/ 25469 w 4068763"/>
              <a:gd name="connsiteY11" fmla="*/ 1973275 h 1984373"/>
              <a:gd name="connsiteX12" fmla="*/ 13280 w 4068763"/>
              <a:gd name="connsiteY12" fmla="*/ 1958782 h 1984373"/>
              <a:gd name="connsiteX13" fmla="*/ 387 w 4068763"/>
              <a:gd name="connsiteY13" fmla="*/ 1927655 h 1984373"/>
              <a:gd name="connsiteX14" fmla="*/ 0 w 4068763"/>
              <a:gd name="connsiteY14" fmla="*/ 1925779 h 1984373"/>
              <a:gd name="connsiteX15" fmla="*/ 0 w 4068763"/>
              <a:gd name="connsiteY15" fmla="*/ 57652 h 1984373"/>
              <a:gd name="connsiteX16" fmla="*/ 35964 w 4068763"/>
              <a:gd name="connsiteY16" fmla="*/ 4529 h 198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8763" h="1984373">
                <a:moveTo>
                  <a:pt x="58874" y="0"/>
                </a:moveTo>
                <a:lnTo>
                  <a:pt x="2142042" y="0"/>
                </a:lnTo>
                <a:lnTo>
                  <a:pt x="4010165" y="0"/>
                </a:lnTo>
                <a:lnTo>
                  <a:pt x="4068763" y="0"/>
                </a:lnTo>
                <a:lnTo>
                  <a:pt x="4068763" y="58594"/>
                </a:lnTo>
                <a:lnTo>
                  <a:pt x="4068763" y="1728968"/>
                </a:lnTo>
                <a:lnTo>
                  <a:pt x="4068763" y="1926721"/>
                </a:lnTo>
                <a:cubicBezTo>
                  <a:pt x="4068763" y="1950601"/>
                  <a:pt x="4054243" y="1971091"/>
                  <a:pt x="4033550" y="1979844"/>
                </a:cubicBezTo>
                <a:lnTo>
                  <a:pt x="4011119" y="1984373"/>
                </a:lnTo>
                <a:lnTo>
                  <a:pt x="59848" y="1984373"/>
                </a:lnTo>
                <a:lnTo>
                  <a:pt x="27644" y="1974741"/>
                </a:lnTo>
                <a:lnTo>
                  <a:pt x="25469" y="1973275"/>
                </a:lnTo>
                <a:lnTo>
                  <a:pt x="13280" y="1958782"/>
                </a:lnTo>
                <a:lnTo>
                  <a:pt x="387" y="1927655"/>
                </a:lnTo>
                <a:lnTo>
                  <a:pt x="0" y="1925779"/>
                </a:lnTo>
                <a:lnTo>
                  <a:pt x="0" y="57652"/>
                </a:lnTo>
                <a:cubicBezTo>
                  <a:pt x="0" y="33771"/>
                  <a:pt x="14830" y="13281"/>
                  <a:pt x="35964" y="4529"/>
                </a:cubicBezTo>
                <a:close/>
              </a:path>
            </a:pathLst>
          </a:custGeom>
          <a:solidFill>
            <a:schemeClr val="tx1"/>
          </a:solidFill>
        </p:spPr>
        <p:txBody>
          <a:bodyPr wrap="square" lIns="216000" tIns="216000" rIns="216000" bIns="216000">
            <a:noAutofit/>
          </a:bodyPr>
          <a:lstStyle>
            <a:lvl1pPr marL="0" indent="0" algn="r">
              <a:lnSpc>
                <a:spcPct val="105000"/>
              </a:lnSpc>
              <a:spcBef>
                <a:spcPts val="0"/>
              </a:spcBef>
              <a:buNone/>
              <a:defRPr lang="nb-NO" sz="2938" dirty="0" smtClean="0">
                <a:solidFill>
                  <a:schemeClr val="accent2"/>
                </a:solidFill>
                <a:latin typeface="Fold Grotesque Pro Light" panose="020B0303030201040103" pitchFamily="34" charset="0"/>
                <a:cs typeface="Arial" panose="020B0604020202020204" pitchFamily="34" charset="0"/>
              </a:defRPr>
            </a:lvl1pPr>
            <a:lvl2pPr>
              <a:defRPr lang="nb-NO" dirty="0" smtClean="0"/>
            </a:lvl2pPr>
            <a:lvl3pPr>
              <a:defRPr lang="nb-NO" dirty="0" smtClean="0"/>
            </a:lvl3pPr>
            <a:lvl4pPr>
              <a:defRPr lang="nb-NO" dirty="0" smtClean="0"/>
            </a:lvl4pPr>
            <a:lvl5pPr>
              <a:defRPr lang="nb-NO" dirty="0"/>
            </a:lvl5pPr>
          </a:lstStyle>
          <a:p>
            <a:pPr lvl="0"/>
            <a:r>
              <a:rPr lang="nb-NO" noProof="0"/>
              <a:t>Tittel</a:t>
            </a:r>
            <a:br>
              <a:rPr lang="nb-NO" noProof="0"/>
            </a:br>
            <a:r>
              <a:rPr lang="nb-NO" noProof="0" err="1"/>
              <a:t>Evt</a:t>
            </a:r>
            <a:r>
              <a:rPr lang="nb-NO" noProof="0"/>
              <a:t> dato</a:t>
            </a:r>
          </a:p>
        </p:txBody>
      </p:sp>
      <p:sp>
        <p:nvSpPr>
          <p:cNvPr id="27" name="Plassholder for tekst 26">
            <a:extLst>
              <a:ext uri="{FF2B5EF4-FFF2-40B4-BE49-F238E27FC236}">
                <a16:creationId xmlns:a16="http://schemas.microsoft.com/office/drawing/2014/main" id="{FF9406D5-45E3-3A41-A429-091B7149FCC3}"/>
              </a:ext>
            </a:extLst>
          </p:cNvPr>
          <p:cNvSpPr>
            <a:spLocks noGrp="1"/>
          </p:cNvSpPr>
          <p:nvPr>
            <p:ph type="body" sz="quarter" idx="29" hasCustomPrompt="1"/>
          </p:nvPr>
        </p:nvSpPr>
        <p:spPr>
          <a:xfrm>
            <a:off x="5346701" y="2828261"/>
            <a:ext cx="1904065" cy="953162"/>
          </a:xfrm>
          <a:custGeom>
            <a:avLst/>
            <a:gdLst>
              <a:gd name="connsiteX0" fmla="*/ 57654 w 2170905"/>
              <a:gd name="connsiteY0" fmla="*/ 0 h 864328"/>
              <a:gd name="connsiteX1" fmla="*/ 2112307 w 2170905"/>
              <a:gd name="connsiteY1" fmla="*/ 0 h 864328"/>
              <a:gd name="connsiteX2" fmla="*/ 2166301 w 2170905"/>
              <a:gd name="connsiteY2" fmla="*/ 35790 h 864328"/>
              <a:gd name="connsiteX3" fmla="*/ 2170905 w 2170905"/>
              <a:gd name="connsiteY3" fmla="*/ 58594 h 864328"/>
              <a:gd name="connsiteX4" fmla="*/ 2170905 w 2170905"/>
              <a:gd name="connsiteY4" fmla="*/ 806674 h 864328"/>
              <a:gd name="connsiteX5" fmla="*/ 2113251 w 2170905"/>
              <a:gd name="connsiteY5" fmla="*/ 864328 h 864328"/>
              <a:gd name="connsiteX6" fmla="*/ 1871662 w 2170905"/>
              <a:gd name="connsiteY6" fmla="*/ 864328 h 864328"/>
              <a:gd name="connsiteX7" fmla="*/ 775120 w 2170905"/>
              <a:gd name="connsiteY7" fmla="*/ 864328 h 864328"/>
              <a:gd name="connsiteX8" fmla="*/ 57654 w 2170905"/>
              <a:gd name="connsiteY8" fmla="*/ 864328 h 864328"/>
              <a:gd name="connsiteX9" fmla="*/ 0 w 2170905"/>
              <a:gd name="connsiteY9" fmla="*/ 864328 h 864328"/>
              <a:gd name="connsiteX10" fmla="*/ 0 w 2170905"/>
              <a:gd name="connsiteY10" fmla="*/ 806674 h 864328"/>
              <a:gd name="connsiteX11" fmla="*/ 0 w 2170905"/>
              <a:gd name="connsiteY11" fmla="*/ 451264 h 864328"/>
              <a:gd name="connsiteX12" fmla="*/ 0 w 2170905"/>
              <a:gd name="connsiteY12" fmla="*/ 361711 h 864328"/>
              <a:gd name="connsiteX13" fmla="*/ 0 w 2170905"/>
              <a:gd name="connsiteY13" fmla="*/ 184879 h 864328"/>
              <a:gd name="connsiteX14" fmla="*/ 0 w 2170905"/>
              <a:gd name="connsiteY14" fmla="*/ 57654 h 864328"/>
              <a:gd name="connsiteX15" fmla="*/ 57654 w 2170905"/>
              <a:gd name="connsiteY15" fmla="*/ 0 h 86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0905" h="864328">
                <a:moveTo>
                  <a:pt x="57654" y="0"/>
                </a:moveTo>
                <a:lnTo>
                  <a:pt x="2112307" y="0"/>
                </a:lnTo>
                <a:cubicBezTo>
                  <a:pt x="2136579" y="0"/>
                  <a:pt x="2157405" y="14758"/>
                  <a:pt x="2166301" y="35790"/>
                </a:cubicBezTo>
                <a:lnTo>
                  <a:pt x="2170905" y="58594"/>
                </a:lnTo>
                <a:lnTo>
                  <a:pt x="2170905" y="806674"/>
                </a:lnTo>
                <a:cubicBezTo>
                  <a:pt x="2170905" y="838515"/>
                  <a:pt x="2145092" y="864328"/>
                  <a:pt x="2113251" y="864328"/>
                </a:cubicBezTo>
                <a:lnTo>
                  <a:pt x="1871662" y="864328"/>
                </a:lnTo>
                <a:lnTo>
                  <a:pt x="775120" y="864328"/>
                </a:lnTo>
                <a:lnTo>
                  <a:pt x="57654" y="864328"/>
                </a:lnTo>
                <a:lnTo>
                  <a:pt x="0" y="864328"/>
                </a:lnTo>
                <a:lnTo>
                  <a:pt x="0" y="806674"/>
                </a:lnTo>
                <a:lnTo>
                  <a:pt x="0" y="451264"/>
                </a:lnTo>
                <a:lnTo>
                  <a:pt x="0" y="361711"/>
                </a:lnTo>
                <a:lnTo>
                  <a:pt x="0" y="184879"/>
                </a:lnTo>
                <a:lnTo>
                  <a:pt x="0" y="57654"/>
                </a:lnTo>
                <a:cubicBezTo>
                  <a:pt x="0" y="25813"/>
                  <a:pt x="25813" y="0"/>
                  <a:pt x="57654" y="0"/>
                </a:cubicBezTo>
                <a:close/>
              </a:path>
            </a:pathLst>
          </a:custGeom>
          <a:blipFill>
            <a:blip r:embed="rId5"/>
            <a:stretch>
              <a:fillRect/>
            </a:stretch>
          </a:blipFill>
        </p:spPr>
        <p:txBody>
          <a:bodyPr wrap="square">
            <a:noAutofit/>
          </a:bodyPr>
          <a:lstStyle>
            <a:lvl1pPr marL="0" indent="0">
              <a:buNone/>
              <a:defRPr sz="2456">
                <a:solidFill>
                  <a:schemeClr val="bg1"/>
                </a:solidFill>
              </a:defRPr>
            </a:lvl1pPr>
            <a:lvl2pPr>
              <a:defRPr sz="2456"/>
            </a:lvl2pPr>
            <a:lvl3pPr>
              <a:defRPr sz="2456"/>
            </a:lvl3pPr>
            <a:lvl4pPr>
              <a:defRPr sz="2456"/>
            </a:lvl4pPr>
            <a:lvl5pPr>
              <a:defRPr sz="2456"/>
            </a:lvl5pPr>
          </a:lstStyle>
          <a:p>
            <a:pPr lvl="0"/>
            <a:r>
              <a:rPr lang="nb-NO"/>
              <a:t> </a:t>
            </a:r>
          </a:p>
        </p:txBody>
      </p:sp>
    </p:spTree>
    <p:extLst>
      <p:ext uri="{BB962C8B-B14F-4D97-AF65-F5344CB8AC3E}">
        <p14:creationId xmlns:p14="http://schemas.microsoft.com/office/powerpoint/2010/main" val="80373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pPr>
              <a:defRPr/>
            </a:pPr>
            <a:endParaRPr lang="en-US"/>
          </a:p>
        </p:txBody>
      </p:sp>
      <p:sp>
        <p:nvSpPr>
          <p:cNvPr id="5" name="Slide Number Placeholder 4"/>
          <p:cNvSpPr>
            <a:spLocks noGrp="1"/>
          </p:cNvSpPr>
          <p:nvPr>
            <p:ph type="sldNum" sz="quarter" idx="11"/>
          </p:nvPr>
        </p:nvSpPr>
        <p:spPr/>
        <p:txBody>
          <a:bodyPr/>
          <a:lstStyle>
            <a:lvl1pPr>
              <a:defRPr/>
            </a:lvl1pPr>
          </a:lstStyle>
          <a:p>
            <a:pPr>
              <a:defRPr/>
            </a:pPr>
            <a:fld id="{247B0619-9F6E-41AA-AAFB-FC9846E0271E}" type="slidenum">
              <a:rPr lang="en-US"/>
              <a:pPr>
                <a:defRPr/>
              </a:pPr>
              <a:t>‹#›</a:t>
            </a:fld>
            <a:endParaRPr lang="en-US"/>
          </a:p>
        </p:txBody>
      </p:sp>
      <p:sp>
        <p:nvSpPr>
          <p:cNvPr id="6" name="Date Placeholder 5"/>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2331253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telskille #1">
    <p:bg>
      <p:bgPr>
        <a:solidFill>
          <a:srgbClr val="3C0025"/>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BD2E18-1BAD-5388-A76C-E6D353493801}"/>
              </a:ext>
            </a:extLst>
          </p:cNvPr>
          <p:cNvGraphicFramePr>
            <a:graphicFrameLocks noChangeAspect="1"/>
          </p:cNvGraphicFramePr>
          <p:nvPr userDrawn="1">
            <p:custDataLst>
              <p:tags r:id="rId1"/>
            </p:custDataLst>
            <p:extLst>
              <p:ext uri="{D42A27DB-BD31-4B8C-83A1-F6EECF244321}">
                <p14:modId xmlns:p14="http://schemas.microsoft.com/office/powerpoint/2010/main" val="18237706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7EBD2E18-1BAD-5388-A76C-E6D35349380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Bilde 4">
            <a:extLst>
              <a:ext uri="{FF2B5EF4-FFF2-40B4-BE49-F238E27FC236}">
                <a16:creationId xmlns:a16="http://schemas.microsoft.com/office/drawing/2014/main" id="{D9FF534C-D9F7-5DB1-D60E-AC9F1A0C2E19}"/>
              </a:ext>
            </a:extLst>
          </p:cNvPr>
          <p:cNvPicPr>
            <a:picLocks noChangeAspect="1"/>
          </p:cNvPicPr>
          <p:nvPr userDrawn="1"/>
        </p:nvPicPr>
        <p:blipFill>
          <a:blip r:embed="rId5">
            <a:alphaModFix amt="0"/>
          </a:blip>
          <a:stretch>
            <a:fillRect/>
          </a:stretch>
        </p:blipFill>
        <p:spPr>
          <a:xfrm>
            <a:off x="0" y="8387"/>
            <a:ext cx="10693400" cy="7546077"/>
          </a:xfrm>
          <a:prstGeom prst="rect">
            <a:avLst/>
          </a:prstGeom>
        </p:spPr>
      </p:pic>
      <p:sp>
        <p:nvSpPr>
          <p:cNvPr id="6" name="Plassholder for bilde 13">
            <a:extLst>
              <a:ext uri="{FF2B5EF4-FFF2-40B4-BE49-F238E27FC236}">
                <a16:creationId xmlns:a16="http://schemas.microsoft.com/office/drawing/2014/main" id="{1C3BD06B-C8E3-C88C-0E32-08CEE117295E}"/>
              </a:ext>
            </a:extLst>
          </p:cNvPr>
          <p:cNvSpPr>
            <a:spLocks noGrp="1"/>
          </p:cNvSpPr>
          <p:nvPr>
            <p:ph type="pic" sz="quarter" idx="17" hasCustomPrompt="1"/>
          </p:nvPr>
        </p:nvSpPr>
        <p:spPr>
          <a:xfrm>
            <a:off x="231134" y="248594"/>
            <a:ext cx="5020885" cy="7065663"/>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br>
              <a:rPr lang="en-US"/>
            </a:br>
            <a:r>
              <a:rPr lang="en-US" err="1"/>
              <a:t>Boksen</a:t>
            </a:r>
            <a:r>
              <a:rPr lang="en-US"/>
              <a:t> </a:t>
            </a:r>
            <a:r>
              <a:rPr lang="en-US" err="1"/>
              <a:t>kan</a:t>
            </a:r>
            <a:r>
              <a:rPr lang="en-US"/>
              <a:t> </a:t>
            </a:r>
            <a:r>
              <a:rPr lang="en-US" err="1"/>
              <a:t>også</a:t>
            </a:r>
            <a:r>
              <a:rPr lang="en-US"/>
              <a:t> </a:t>
            </a:r>
            <a:r>
              <a:rPr lang="en-US" err="1"/>
              <a:t>slettes</a:t>
            </a:r>
            <a:r>
              <a:rPr lang="en-US"/>
              <a:t> </a:t>
            </a:r>
            <a:r>
              <a:rPr lang="en-US" err="1"/>
              <a:t>dersom</a:t>
            </a:r>
            <a:r>
              <a:rPr lang="en-US"/>
              <a:t> man </a:t>
            </a:r>
            <a:r>
              <a:rPr lang="en-US" err="1"/>
              <a:t>ikke</a:t>
            </a:r>
            <a:r>
              <a:rPr lang="en-US"/>
              <a:t> </a:t>
            </a:r>
            <a:r>
              <a:rPr lang="en-US" err="1"/>
              <a:t>ønsker</a:t>
            </a:r>
            <a:r>
              <a:rPr lang="en-US"/>
              <a:t> </a:t>
            </a:r>
            <a:r>
              <a:rPr lang="en-US" err="1"/>
              <a:t>bilde</a:t>
            </a:r>
            <a:r>
              <a:rPr lang="en-US"/>
              <a:t>.</a:t>
            </a:r>
          </a:p>
        </p:txBody>
      </p:sp>
      <p:sp>
        <p:nvSpPr>
          <p:cNvPr id="7" name="Plassholder for tekst 7">
            <a:extLst>
              <a:ext uri="{FF2B5EF4-FFF2-40B4-BE49-F238E27FC236}">
                <a16:creationId xmlns:a16="http://schemas.microsoft.com/office/drawing/2014/main" id="{5656799C-406F-1CFF-BAC5-FF8341614118}"/>
              </a:ext>
            </a:extLst>
          </p:cNvPr>
          <p:cNvSpPr>
            <a:spLocks noGrp="1"/>
          </p:cNvSpPr>
          <p:nvPr>
            <p:ph type="body" sz="quarter" idx="11" hasCustomPrompt="1"/>
          </p:nvPr>
        </p:nvSpPr>
        <p:spPr>
          <a:xfrm>
            <a:off x="5441382" y="2074532"/>
            <a:ext cx="5020885" cy="1587849"/>
          </a:xfrm>
          <a:prstGeom prst="rect">
            <a:avLst/>
          </a:prstGeom>
        </p:spPr>
        <p:txBody>
          <a:bodyPr lIns="72000" tIns="0" rIns="72000" bIns="0" anchor="b" anchorCtr="0"/>
          <a:lstStyle>
            <a:lvl1pPr marL="0" indent="0">
              <a:lnSpc>
                <a:spcPct val="105000"/>
              </a:lnSpc>
              <a:spcBef>
                <a:spcPts val="0"/>
              </a:spcBef>
              <a:buFontTx/>
              <a:buNone/>
              <a:defRPr sz="2938">
                <a:solidFill>
                  <a:schemeClr val="bg1"/>
                </a:solidFill>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noProof="0"/>
              <a:t>Tittel på kapittel</a:t>
            </a:r>
          </a:p>
        </p:txBody>
      </p:sp>
    </p:spTree>
    <p:extLst>
      <p:ext uri="{BB962C8B-B14F-4D97-AF65-F5344CB8AC3E}">
        <p14:creationId xmlns:p14="http://schemas.microsoft.com/office/powerpoint/2010/main" val="2896818099"/>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tel">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4"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Tree>
    <p:extLst>
      <p:ext uri="{BB962C8B-B14F-4D97-AF65-F5344CB8AC3E}">
        <p14:creationId xmlns:p14="http://schemas.microsoft.com/office/powerpoint/2010/main" val="4096999448"/>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tel og undertittel">
    <p:spTree>
      <p:nvGrpSpPr>
        <p:cNvPr id="1" name=""/>
        <p:cNvGrpSpPr/>
        <p:nvPr/>
      </p:nvGrpSpPr>
      <p:grpSpPr>
        <a:xfrm>
          <a:off x="0" y="0"/>
          <a:ext cx="0" cy="0"/>
          <a:chOff x="0" y="0"/>
          <a:chExt cx="0" cy="0"/>
        </a:xfrm>
      </p:grpSpPr>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9" name="Plassholder for tekst 8">
            <a:extLst>
              <a:ext uri="{FF2B5EF4-FFF2-40B4-BE49-F238E27FC236}">
                <a16:creationId xmlns:a16="http://schemas.microsoft.com/office/drawing/2014/main" id="{D304FB01-B6AF-1228-B301-E1BF4F639681}"/>
              </a:ext>
            </a:extLst>
          </p:cNvPr>
          <p:cNvSpPr>
            <a:spLocks noGrp="1"/>
          </p:cNvSpPr>
          <p:nvPr>
            <p:ph type="body" sz="quarter" idx="17"/>
          </p:nvPr>
        </p:nvSpPr>
        <p:spPr>
          <a:xfrm>
            <a:off x="231134" y="1439042"/>
            <a:ext cx="10231133"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tekst 7">
            <a:extLst>
              <a:ext uri="{FF2B5EF4-FFF2-40B4-BE49-F238E27FC236}">
                <a16:creationId xmlns:a16="http://schemas.microsoft.com/office/drawing/2014/main" id="{0D71A8A5-723F-D051-B588-5641A01C006F}"/>
              </a:ext>
            </a:extLst>
          </p:cNvPr>
          <p:cNvSpPr>
            <a:spLocks noGrp="1"/>
          </p:cNvSpPr>
          <p:nvPr>
            <p:ph type="body" sz="quarter" idx="11"/>
          </p:nvPr>
        </p:nvSpPr>
        <p:spPr>
          <a:xfrm>
            <a:off x="231134"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Tree>
    <p:extLst>
      <p:ext uri="{BB962C8B-B14F-4D97-AF65-F5344CB8AC3E}">
        <p14:creationId xmlns:p14="http://schemas.microsoft.com/office/powerpoint/2010/main" val="4092077206"/>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tel, undertittel og innhold">
    <p:spTree>
      <p:nvGrpSpPr>
        <p:cNvPr id="1" name=""/>
        <p:cNvGrpSpPr/>
        <p:nvPr/>
      </p:nvGrpSpPr>
      <p:grpSpPr>
        <a:xfrm>
          <a:off x="0" y="0"/>
          <a:ext cx="0" cy="0"/>
          <a:chOff x="0" y="0"/>
          <a:chExt cx="0" cy="0"/>
        </a:xfrm>
      </p:grpSpPr>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3" name="Plassholder for innhold 3">
            <a:extLst>
              <a:ext uri="{FF2B5EF4-FFF2-40B4-BE49-F238E27FC236}">
                <a16:creationId xmlns:a16="http://schemas.microsoft.com/office/drawing/2014/main" id="{C3BBFF74-A1B6-F909-E671-7CED7B5B6763}"/>
              </a:ext>
            </a:extLst>
          </p:cNvPr>
          <p:cNvSpPr>
            <a:spLocks noGrp="1"/>
          </p:cNvSpPr>
          <p:nvPr>
            <p:ph sz="quarter" idx="16"/>
          </p:nvPr>
        </p:nvSpPr>
        <p:spPr>
          <a:xfrm>
            <a:off x="230498" y="1717024"/>
            <a:ext cx="10231136"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tekst 8">
            <a:extLst>
              <a:ext uri="{FF2B5EF4-FFF2-40B4-BE49-F238E27FC236}">
                <a16:creationId xmlns:a16="http://schemas.microsoft.com/office/drawing/2014/main" id="{E90ED788-EC82-6D6F-C86B-E1353BA42B6D}"/>
              </a:ext>
            </a:extLst>
          </p:cNvPr>
          <p:cNvSpPr>
            <a:spLocks noGrp="1"/>
          </p:cNvSpPr>
          <p:nvPr>
            <p:ph type="body" sz="quarter" idx="17"/>
          </p:nvPr>
        </p:nvSpPr>
        <p:spPr>
          <a:xfrm>
            <a:off x="231134" y="1439042"/>
            <a:ext cx="10231133"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4" name="Plassholder for tekst 7">
            <a:extLst>
              <a:ext uri="{FF2B5EF4-FFF2-40B4-BE49-F238E27FC236}">
                <a16:creationId xmlns:a16="http://schemas.microsoft.com/office/drawing/2014/main" id="{0497714E-E931-C251-B973-D36820C4B655}"/>
              </a:ext>
            </a:extLst>
          </p:cNvPr>
          <p:cNvSpPr>
            <a:spLocks noGrp="1"/>
          </p:cNvSpPr>
          <p:nvPr>
            <p:ph type="body" sz="quarter" idx="11"/>
          </p:nvPr>
        </p:nvSpPr>
        <p:spPr>
          <a:xfrm>
            <a:off x="231134"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Tree>
    <p:extLst>
      <p:ext uri="{BB962C8B-B14F-4D97-AF65-F5344CB8AC3E}">
        <p14:creationId xmlns:p14="http://schemas.microsoft.com/office/powerpoint/2010/main" val="2569684413"/>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innholdsbokser">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7" name="Plassholder for innhold 3">
            <a:extLst>
              <a:ext uri="{FF2B5EF4-FFF2-40B4-BE49-F238E27FC236}">
                <a16:creationId xmlns:a16="http://schemas.microsoft.com/office/drawing/2014/main" id="{4D68B020-092C-5A0A-9B56-70EB4FA75474}"/>
              </a:ext>
            </a:extLst>
          </p:cNvPr>
          <p:cNvSpPr>
            <a:spLocks noGrp="1"/>
          </p:cNvSpPr>
          <p:nvPr>
            <p:ph sz="quarter" idx="16"/>
          </p:nvPr>
        </p:nvSpPr>
        <p:spPr>
          <a:xfrm>
            <a:off x="230498" y="1717024"/>
            <a:ext cx="5020425"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E468E646-C578-A767-ECDC-557B0C6DD901}"/>
              </a:ext>
            </a:extLst>
          </p:cNvPr>
          <p:cNvSpPr>
            <a:spLocks noGrp="1"/>
          </p:cNvSpPr>
          <p:nvPr>
            <p:ph type="body" sz="quarter" idx="17"/>
          </p:nvPr>
        </p:nvSpPr>
        <p:spPr>
          <a:xfrm>
            <a:off x="231133"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4" name="Plassholder for innhold 3">
            <a:extLst>
              <a:ext uri="{FF2B5EF4-FFF2-40B4-BE49-F238E27FC236}">
                <a16:creationId xmlns:a16="http://schemas.microsoft.com/office/drawing/2014/main" id="{A80ABB6B-6674-441A-579B-AAB51B3A4B17}"/>
              </a:ext>
            </a:extLst>
          </p:cNvPr>
          <p:cNvSpPr>
            <a:spLocks noGrp="1"/>
          </p:cNvSpPr>
          <p:nvPr>
            <p:ph sz="quarter" idx="18"/>
          </p:nvPr>
        </p:nvSpPr>
        <p:spPr>
          <a:xfrm>
            <a:off x="5441843" y="1717024"/>
            <a:ext cx="5020425"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tekst 8">
            <a:extLst>
              <a:ext uri="{FF2B5EF4-FFF2-40B4-BE49-F238E27FC236}">
                <a16:creationId xmlns:a16="http://schemas.microsoft.com/office/drawing/2014/main" id="{905C37A6-09ED-F4F1-0A21-1639BDAFB332}"/>
              </a:ext>
            </a:extLst>
          </p:cNvPr>
          <p:cNvSpPr>
            <a:spLocks noGrp="1"/>
          </p:cNvSpPr>
          <p:nvPr>
            <p:ph type="body" sz="quarter" idx="19"/>
          </p:nvPr>
        </p:nvSpPr>
        <p:spPr>
          <a:xfrm>
            <a:off x="5442478"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709209718"/>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innholdsbokser #1">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14" name="Plassholder for innhold 3">
            <a:extLst>
              <a:ext uri="{FF2B5EF4-FFF2-40B4-BE49-F238E27FC236}">
                <a16:creationId xmlns:a16="http://schemas.microsoft.com/office/drawing/2014/main" id="{FA948FD9-3094-2DC1-8C0F-9A712CA7F606}"/>
              </a:ext>
            </a:extLst>
          </p:cNvPr>
          <p:cNvSpPr>
            <a:spLocks noGrp="1"/>
          </p:cNvSpPr>
          <p:nvPr>
            <p:ph sz="quarter" idx="16"/>
          </p:nvPr>
        </p:nvSpPr>
        <p:spPr>
          <a:xfrm>
            <a:off x="230498" y="1717024"/>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tekst 8">
            <a:extLst>
              <a:ext uri="{FF2B5EF4-FFF2-40B4-BE49-F238E27FC236}">
                <a16:creationId xmlns:a16="http://schemas.microsoft.com/office/drawing/2014/main" id="{AC956E28-1C01-633C-BB86-C88429B07F95}"/>
              </a:ext>
            </a:extLst>
          </p:cNvPr>
          <p:cNvSpPr>
            <a:spLocks noGrp="1"/>
          </p:cNvSpPr>
          <p:nvPr>
            <p:ph type="body" sz="quarter" idx="17"/>
          </p:nvPr>
        </p:nvSpPr>
        <p:spPr>
          <a:xfrm>
            <a:off x="231133"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6" name="Plassholder for innhold 3">
            <a:extLst>
              <a:ext uri="{FF2B5EF4-FFF2-40B4-BE49-F238E27FC236}">
                <a16:creationId xmlns:a16="http://schemas.microsoft.com/office/drawing/2014/main" id="{0BE96FDF-7B3C-C5AD-0B2C-2942AB952952}"/>
              </a:ext>
            </a:extLst>
          </p:cNvPr>
          <p:cNvSpPr>
            <a:spLocks noGrp="1"/>
          </p:cNvSpPr>
          <p:nvPr>
            <p:ph sz="quarter" idx="18"/>
          </p:nvPr>
        </p:nvSpPr>
        <p:spPr>
          <a:xfrm>
            <a:off x="5441843" y="1717024"/>
            <a:ext cx="5020425"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8">
            <a:extLst>
              <a:ext uri="{FF2B5EF4-FFF2-40B4-BE49-F238E27FC236}">
                <a16:creationId xmlns:a16="http://schemas.microsoft.com/office/drawing/2014/main" id="{521D9F00-F8F6-E601-0033-856AF5228665}"/>
              </a:ext>
            </a:extLst>
          </p:cNvPr>
          <p:cNvSpPr>
            <a:spLocks noGrp="1"/>
          </p:cNvSpPr>
          <p:nvPr>
            <p:ph type="body" sz="quarter" idx="19"/>
          </p:nvPr>
        </p:nvSpPr>
        <p:spPr>
          <a:xfrm>
            <a:off x="5442478"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8" name="Plassholder for innhold 3">
            <a:extLst>
              <a:ext uri="{FF2B5EF4-FFF2-40B4-BE49-F238E27FC236}">
                <a16:creationId xmlns:a16="http://schemas.microsoft.com/office/drawing/2014/main" id="{7F4134F9-233E-E2AE-A88E-1CA64CA1BB8B}"/>
              </a:ext>
            </a:extLst>
          </p:cNvPr>
          <p:cNvSpPr>
            <a:spLocks noGrp="1"/>
          </p:cNvSpPr>
          <p:nvPr>
            <p:ph sz="quarter" idx="20"/>
          </p:nvPr>
        </p:nvSpPr>
        <p:spPr>
          <a:xfrm>
            <a:off x="230498" y="4654631"/>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tekst 8">
            <a:extLst>
              <a:ext uri="{FF2B5EF4-FFF2-40B4-BE49-F238E27FC236}">
                <a16:creationId xmlns:a16="http://schemas.microsoft.com/office/drawing/2014/main" id="{0049877E-DFD1-BC00-BE90-99236C85A028}"/>
              </a:ext>
            </a:extLst>
          </p:cNvPr>
          <p:cNvSpPr>
            <a:spLocks noGrp="1"/>
          </p:cNvSpPr>
          <p:nvPr>
            <p:ph type="body" sz="quarter" idx="21"/>
          </p:nvPr>
        </p:nvSpPr>
        <p:spPr>
          <a:xfrm>
            <a:off x="231133" y="4376925"/>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1177481530"/>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364">
          <p15:clr>
            <a:srgbClr val="FBAE40"/>
          </p15:clr>
        </p15:guide>
        <p15:guide id="3" orient="horz" pos="25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innholdsbokser #2">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14" name="Plassholder for innhold 3">
            <a:extLst>
              <a:ext uri="{FF2B5EF4-FFF2-40B4-BE49-F238E27FC236}">
                <a16:creationId xmlns:a16="http://schemas.microsoft.com/office/drawing/2014/main" id="{FA948FD9-3094-2DC1-8C0F-9A712CA7F606}"/>
              </a:ext>
            </a:extLst>
          </p:cNvPr>
          <p:cNvSpPr>
            <a:spLocks noGrp="1"/>
          </p:cNvSpPr>
          <p:nvPr>
            <p:ph sz="quarter" idx="16"/>
          </p:nvPr>
        </p:nvSpPr>
        <p:spPr>
          <a:xfrm>
            <a:off x="5441842" y="1717024"/>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tekst 8">
            <a:extLst>
              <a:ext uri="{FF2B5EF4-FFF2-40B4-BE49-F238E27FC236}">
                <a16:creationId xmlns:a16="http://schemas.microsoft.com/office/drawing/2014/main" id="{AC956E28-1C01-633C-BB86-C88429B07F95}"/>
              </a:ext>
            </a:extLst>
          </p:cNvPr>
          <p:cNvSpPr>
            <a:spLocks noGrp="1"/>
          </p:cNvSpPr>
          <p:nvPr>
            <p:ph type="body" sz="quarter" idx="17"/>
          </p:nvPr>
        </p:nvSpPr>
        <p:spPr>
          <a:xfrm>
            <a:off x="5441842"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6" name="Plassholder for innhold 3">
            <a:extLst>
              <a:ext uri="{FF2B5EF4-FFF2-40B4-BE49-F238E27FC236}">
                <a16:creationId xmlns:a16="http://schemas.microsoft.com/office/drawing/2014/main" id="{0BE96FDF-7B3C-C5AD-0B2C-2942AB952952}"/>
              </a:ext>
            </a:extLst>
          </p:cNvPr>
          <p:cNvSpPr>
            <a:spLocks noGrp="1"/>
          </p:cNvSpPr>
          <p:nvPr>
            <p:ph sz="quarter" idx="18"/>
          </p:nvPr>
        </p:nvSpPr>
        <p:spPr>
          <a:xfrm>
            <a:off x="231135" y="1717024"/>
            <a:ext cx="5020425"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8">
            <a:extLst>
              <a:ext uri="{FF2B5EF4-FFF2-40B4-BE49-F238E27FC236}">
                <a16:creationId xmlns:a16="http://schemas.microsoft.com/office/drawing/2014/main" id="{521D9F00-F8F6-E601-0033-856AF5228665}"/>
              </a:ext>
            </a:extLst>
          </p:cNvPr>
          <p:cNvSpPr>
            <a:spLocks noGrp="1"/>
          </p:cNvSpPr>
          <p:nvPr>
            <p:ph type="body" sz="quarter" idx="19"/>
          </p:nvPr>
        </p:nvSpPr>
        <p:spPr>
          <a:xfrm>
            <a:off x="231135"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8" name="Plassholder for innhold 3">
            <a:extLst>
              <a:ext uri="{FF2B5EF4-FFF2-40B4-BE49-F238E27FC236}">
                <a16:creationId xmlns:a16="http://schemas.microsoft.com/office/drawing/2014/main" id="{7F4134F9-233E-E2AE-A88E-1CA64CA1BB8B}"/>
              </a:ext>
            </a:extLst>
          </p:cNvPr>
          <p:cNvSpPr>
            <a:spLocks noGrp="1"/>
          </p:cNvSpPr>
          <p:nvPr>
            <p:ph sz="quarter" idx="20"/>
          </p:nvPr>
        </p:nvSpPr>
        <p:spPr>
          <a:xfrm>
            <a:off x="5441842" y="4654631"/>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tekst 8">
            <a:extLst>
              <a:ext uri="{FF2B5EF4-FFF2-40B4-BE49-F238E27FC236}">
                <a16:creationId xmlns:a16="http://schemas.microsoft.com/office/drawing/2014/main" id="{0049877E-DFD1-BC00-BE90-99236C85A028}"/>
              </a:ext>
            </a:extLst>
          </p:cNvPr>
          <p:cNvSpPr>
            <a:spLocks noGrp="1"/>
          </p:cNvSpPr>
          <p:nvPr>
            <p:ph type="body" sz="quarter" idx="21"/>
          </p:nvPr>
        </p:nvSpPr>
        <p:spPr>
          <a:xfrm>
            <a:off x="5441842" y="4376925"/>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3532990814"/>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364">
          <p15:clr>
            <a:srgbClr val="FBAE40"/>
          </p15:clr>
        </p15:guide>
        <p15:guide id="3" orient="horz" pos="25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innholdsbokser">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14" name="Plassholder for innhold 3">
            <a:extLst>
              <a:ext uri="{FF2B5EF4-FFF2-40B4-BE49-F238E27FC236}">
                <a16:creationId xmlns:a16="http://schemas.microsoft.com/office/drawing/2014/main" id="{FA948FD9-3094-2DC1-8C0F-9A712CA7F606}"/>
              </a:ext>
            </a:extLst>
          </p:cNvPr>
          <p:cNvSpPr>
            <a:spLocks noGrp="1"/>
          </p:cNvSpPr>
          <p:nvPr>
            <p:ph sz="quarter" idx="16"/>
          </p:nvPr>
        </p:nvSpPr>
        <p:spPr>
          <a:xfrm>
            <a:off x="5441842" y="1717024"/>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tekst 8">
            <a:extLst>
              <a:ext uri="{FF2B5EF4-FFF2-40B4-BE49-F238E27FC236}">
                <a16:creationId xmlns:a16="http://schemas.microsoft.com/office/drawing/2014/main" id="{AC956E28-1C01-633C-BB86-C88429B07F95}"/>
              </a:ext>
            </a:extLst>
          </p:cNvPr>
          <p:cNvSpPr>
            <a:spLocks noGrp="1"/>
          </p:cNvSpPr>
          <p:nvPr>
            <p:ph type="body" sz="quarter" idx="17"/>
          </p:nvPr>
        </p:nvSpPr>
        <p:spPr>
          <a:xfrm>
            <a:off x="5441842"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18" name="Plassholder for innhold 3">
            <a:extLst>
              <a:ext uri="{FF2B5EF4-FFF2-40B4-BE49-F238E27FC236}">
                <a16:creationId xmlns:a16="http://schemas.microsoft.com/office/drawing/2014/main" id="{7F4134F9-233E-E2AE-A88E-1CA64CA1BB8B}"/>
              </a:ext>
            </a:extLst>
          </p:cNvPr>
          <p:cNvSpPr>
            <a:spLocks noGrp="1"/>
          </p:cNvSpPr>
          <p:nvPr>
            <p:ph sz="quarter" idx="20"/>
          </p:nvPr>
        </p:nvSpPr>
        <p:spPr>
          <a:xfrm>
            <a:off x="5441842" y="4654631"/>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tekst 8">
            <a:extLst>
              <a:ext uri="{FF2B5EF4-FFF2-40B4-BE49-F238E27FC236}">
                <a16:creationId xmlns:a16="http://schemas.microsoft.com/office/drawing/2014/main" id="{0049877E-DFD1-BC00-BE90-99236C85A028}"/>
              </a:ext>
            </a:extLst>
          </p:cNvPr>
          <p:cNvSpPr>
            <a:spLocks noGrp="1"/>
          </p:cNvSpPr>
          <p:nvPr>
            <p:ph type="body" sz="quarter" idx="21"/>
          </p:nvPr>
        </p:nvSpPr>
        <p:spPr>
          <a:xfrm>
            <a:off x="5441842" y="4376925"/>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innhold 3">
            <a:extLst>
              <a:ext uri="{FF2B5EF4-FFF2-40B4-BE49-F238E27FC236}">
                <a16:creationId xmlns:a16="http://schemas.microsoft.com/office/drawing/2014/main" id="{5B8A564B-D766-01CB-3EA8-5319873802F6}"/>
              </a:ext>
            </a:extLst>
          </p:cNvPr>
          <p:cNvSpPr>
            <a:spLocks noGrp="1"/>
          </p:cNvSpPr>
          <p:nvPr>
            <p:ph sz="quarter" idx="22"/>
          </p:nvPr>
        </p:nvSpPr>
        <p:spPr>
          <a:xfrm>
            <a:off x="231135" y="1717024"/>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Plassholder for tekst 8">
            <a:extLst>
              <a:ext uri="{FF2B5EF4-FFF2-40B4-BE49-F238E27FC236}">
                <a16:creationId xmlns:a16="http://schemas.microsoft.com/office/drawing/2014/main" id="{0563DB0D-84D8-F6B0-D6F0-D726194497DE}"/>
              </a:ext>
            </a:extLst>
          </p:cNvPr>
          <p:cNvSpPr>
            <a:spLocks noGrp="1"/>
          </p:cNvSpPr>
          <p:nvPr>
            <p:ph type="body" sz="quarter" idx="23"/>
          </p:nvPr>
        </p:nvSpPr>
        <p:spPr>
          <a:xfrm>
            <a:off x="231135" y="1439042"/>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4" name="Plassholder for innhold 3">
            <a:extLst>
              <a:ext uri="{FF2B5EF4-FFF2-40B4-BE49-F238E27FC236}">
                <a16:creationId xmlns:a16="http://schemas.microsoft.com/office/drawing/2014/main" id="{BA2876FC-8967-97EA-8157-4FF6B73FDAD6}"/>
              </a:ext>
            </a:extLst>
          </p:cNvPr>
          <p:cNvSpPr>
            <a:spLocks noGrp="1"/>
          </p:cNvSpPr>
          <p:nvPr>
            <p:ph sz="quarter" idx="24"/>
          </p:nvPr>
        </p:nvSpPr>
        <p:spPr>
          <a:xfrm>
            <a:off x="231135" y="4654631"/>
            <a:ext cx="5020425" cy="2421536"/>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tekst 8">
            <a:extLst>
              <a:ext uri="{FF2B5EF4-FFF2-40B4-BE49-F238E27FC236}">
                <a16:creationId xmlns:a16="http://schemas.microsoft.com/office/drawing/2014/main" id="{BF348006-EBBE-69A6-98F0-EEDF30439CA7}"/>
              </a:ext>
            </a:extLst>
          </p:cNvPr>
          <p:cNvSpPr>
            <a:spLocks noGrp="1"/>
          </p:cNvSpPr>
          <p:nvPr>
            <p:ph type="body" sz="quarter" idx="25"/>
          </p:nvPr>
        </p:nvSpPr>
        <p:spPr>
          <a:xfrm>
            <a:off x="231135" y="4376925"/>
            <a:ext cx="5020425"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2468051050"/>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364">
          <p15:clr>
            <a:srgbClr val="FBAE40"/>
          </p15:clr>
        </p15:guide>
        <p15:guide id="3" orient="horz" pos="25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nnholdsbokser">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7" name="Plassholder for innhold 3">
            <a:extLst>
              <a:ext uri="{FF2B5EF4-FFF2-40B4-BE49-F238E27FC236}">
                <a16:creationId xmlns:a16="http://schemas.microsoft.com/office/drawing/2014/main" id="{4D68B020-092C-5A0A-9B56-70EB4FA75474}"/>
              </a:ext>
            </a:extLst>
          </p:cNvPr>
          <p:cNvSpPr>
            <a:spLocks noGrp="1"/>
          </p:cNvSpPr>
          <p:nvPr>
            <p:ph sz="quarter" idx="16"/>
          </p:nvPr>
        </p:nvSpPr>
        <p:spPr>
          <a:xfrm>
            <a:off x="230498" y="1717024"/>
            <a:ext cx="3283800"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E468E646-C578-A767-ECDC-557B0C6DD901}"/>
              </a:ext>
            </a:extLst>
          </p:cNvPr>
          <p:cNvSpPr>
            <a:spLocks noGrp="1"/>
          </p:cNvSpPr>
          <p:nvPr>
            <p:ph type="body" sz="quarter" idx="17"/>
          </p:nvPr>
        </p:nvSpPr>
        <p:spPr>
          <a:xfrm>
            <a:off x="231133" y="1439042"/>
            <a:ext cx="3283800"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innhold 3">
            <a:extLst>
              <a:ext uri="{FF2B5EF4-FFF2-40B4-BE49-F238E27FC236}">
                <a16:creationId xmlns:a16="http://schemas.microsoft.com/office/drawing/2014/main" id="{7521F190-994E-3ADE-0F40-3AD10BF4B6AF}"/>
              </a:ext>
            </a:extLst>
          </p:cNvPr>
          <p:cNvSpPr>
            <a:spLocks noGrp="1"/>
          </p:cNvSpPr>
          <p:nvPr>
            <p:ph sz="quarter" idx="18"/>
          </p:nvPr>
        </p:nvSpPr>
        <p:spPr>
          <a:xfrm>
            <a:off x="3704800" y="1717024"/>
            <a:ext cx="3283800"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Plassholder for tekst 8">
            <a:extLst>
              <a:ext uri="{FF2B5EF4-FFF2-40B4-BE49-F238E27FC236}">
                <a16:creationId xmlns:a16="http://schemas.microsoft.com/office/drawing/2014/main" id="{EEDBACB4-E847-DE71-6005-D49FAEC03223}"/>
              </a:ext>
            </a:extLst>
          </p:cNvPr>
          <p:cNvSpPr>
            <a:spLocks noGrp="1"/>
          </p:cNvSpPr>
          <p:nvPr>
            <p:ph type="body" sz="quarter" idx="19"/>
          </p:nvPr>
        </p:nvSpPr>
        <p:spPr>
          <a:xfrm>
            <a:off x="3704800" y="1439042"/>
            <a:ext cx="3283800"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4" name="Plassholder for innhold 3">
            <a:extLst>
              <a:ext uri="{FF2B5EF4-FFF2-40B4-BE49-F238E27FC236}">
                <a16:creationId xmlns:a16="http://schemas.microsoft.com/office/drawing/2014/main" id="{3A1E2F67-752C-7386-0901-EE72D8B54D25}"/>
              </a:ext>
            </a:extLst>
          </p:cNvPr>
          <p:cNvSpPr>
            <a:spLocks noGrp="1"/>
          </p:cNvSpPr>
          <p:nvPr>
            <p:ph sz="quarter" idx="20"/>
          </p:nvPr>
        </p:nvSpPr>
        <p:spPr>
          <a:xfrm>
            <a:off x="7178467" y="1717024"/>
            <a:ext cx="3283800"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8">
            <a:extLst>
              <a:ext uri="{FF2B5EF4-FFF2-40B4-BE49-F238E27FC236}">
                <a16:creationId xmlns:a16="http://schemas.microsoft.com/office/drawing/2014/main" id="{698D542D-FA2D-E26B-0F6B-F8C7B536E22C}"/>
              </a:ext>
            </a:extLst>
          </p:cNvPr>
          <p:cNvSpPr>
            <a:spLocks noGrp="1"/>
          </p:cNvSpPr>
          <p:nvPr>
            <p:ph type="body" sz="quarter" idx="21"/>
          </p:nvPr>
        </p:nvSpPr>
        <p:spPr>
          <a:xfrm>
            <a:off x="7178467" y="1439042"/>
            <a:ext cx="3283800"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3247965146"/>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innholdsbokser (farge v)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47C8-7AB2-B903-B53F-F6E8DB7756FF}"/>
              </a:ext>
            </a:extLst>
          </p:cNvPr>
          <p:cNvGraphicFramePr>
            <a:graphicFrameLocks noChangeAspect="1"/>
          </p:cNvGraphicFramePr>
          <p:nvPr userDrawn="1">
            <p:custDataLst>
              <p:tags r:id="rId1"/>
            </p:custDataLst>
            <p:extLst>
              <p:ext uri="{D42A27DB-BD31-4B8C-83A1-F6EECF244321}">
                <p14:modId xmlns:p14="http://schemas.microsoft.com/office/powerpoint/2010/main" val="103542139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C18047C8-7AB2-B903-B53F-F6E8DB7756F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Plassholder for innhold 12">
            <a:extLst>
              <a:ext uri="{FF2B5EF4-FFF2-40B4-BE49-F238E27FC236}">
                <a16:creationId xmlns:a16="http://schemas.microsoft.com/office/drawing/2014/main" id="{AADE5982-AC46-5024-BFF6-3EE723FB6ABB}"/>
              </a:ext>
            </a:extLst>
          </p:cNvPr>
          <p:cNvSpPr>
            <a:spLocks noGrp="1"/>
          </p:cNvSpPr>
          <p:nvPr>
            <p:ph sz="quarter" idx="12"/>
          </p:nvPr>
        </p:nvSpPr>
        <p:spPr>
          <a:xfrm>
            <a:off x="231134" y="1441110"/>
            <a:ext cx="3284601" cy="5637400"/>
          </a:xfrm>
          <a:prstGeom prst="roundRect">
            <a:avLst>
              <a:gd name="adj" fmla="val 1710"/>
            </a:avLst>
          </a:prstGeom>
          <a:solidFill>
            <a:srgbClr val="EFE6FF"/>
          </a:solidFill>
        </p:spPr>
        <p:txBody>
          <a:bodyPr lIns="216000" tIns="216000" rIns="216000" bIns="216000"/>
          <a:lstStyle>
            <a:lvl1pPr marL="0" indent="0">
              <a:buNone/>
              <a:defRPr sz="1140"/>
            </a:lvl1pPr>
          </a:lstStyle>
          <a:p>
            <a:pPr lvl="0"/>
            <a:r>
              <a:rPr lang="nb-NO"/>
              <a:t>Klikk for å redigere tekststiler i malen</a:t>
            </a:r>
          </a:p>
        </p:txBody>
      </p:sp>
      <p:sp>
        <p:nvSpPr>
          <p:cNvPr id="3" name="Plassholder for lysbildenummer 1">
            <a:extLst>
              <a:ext uri="{FF2B5EF4-FFF2-40B4-BE49-F238E27FC236}">
                <a16:creationId xmlns:a16="http://schemas.microsoft.com/office/drawing/2014/main" id="{2AAE051F-1D07-F9A8-35A8-5F6DA3A8F4B9}"/>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ED42FCD6-E78B-5DE0-528B-EAD2E703E199}"/>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7" name="Plassholder for tekst 11">
            <a:extLst>
              <a:ext uri="{FF2B5EF4-FFF2-40B4-BE49-F238E27FC236}">
                <a16:creationId xmlns:a16="http://schemas.microsoft.com/office/drawing/2014/main" id="{3B80A331-9D22-E3D2-5A4D-99404C5B5FD4}"/>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tekst 7">
            <a:extLst>
              <a:ext uri="{FF2B5EF4-FFF2-40B4-BE49-F238E27FC236}">
                <a16:creationId xmlns:a16="http://schemas.microsoft.com/office/drawing/2014/main" id="{8B87AD99-AC9F-116D-A3F3-C69E42B990AE}"/>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5" name="Plassholder for innhold 3">
            <a:extLst>
              <a:ext uri="{FF2B5EF4-FFF2-40B4-BE49-F238E27FC236}">
                <a16:creationId xmlns:a16="http://schemas.microsoft.com/office/drawing/2014/main" id="{F166C36F-553B-3545-23BA-FE3CF76B58D9}"/>
              </a:ext>
            </a:extLst>
          </p:cNvPr>
          <p:cNvSpPr>
            <a:spLocks noGrp="1"/>
          </p:cNvSpPr>
          <p:nvPr>
            <p:ph sz="quarter" idx="18"/>
          </p:nvPr>
        </p:nvSpPr>
        <p:spPr>
          <a:xfrm>
            <a:off x="3704800" y="1717024"/>
            <a:ext cx="6757050"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8">
            <a:extLst>
              <a:ext uri="{FF2B5EF4-FFF2-40B4-BE49-F238E27FC236}">
                <a16:creationId xmlns:a16="http://schemas.microsoft.com/office/drawing/2014/main" id="{19FA5B81-1A58-92A2-6D72-AA0DCB3EA367}"/>
              </a:ext>
            </a:extLst>
          </p:cNvPr>
          <p:cNvSpPr>
            <a:spLocks noGrp="1"/>
          </p:cNvSpPr>
          <p:nvPr>
            <p:ph type="body" sz="quarter" idx="19"/>
          </p:nvPr>
        </p:nvSpPr>
        <p:spPr>
          <a:xfrm>
            <a:off x="3704800" y="1439042"/>
            <a:ext cx="6757050"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2613960590"/>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092">
          <p15:clr>
            <a:srgbClr val="F26B43"/>
          </p15:clr>
        </p15:guide>
        <p15:guide id="3" orient="horz" pos="2228">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9833"/>
            <a:ext cx="9089390" cy="1502066"/>
          </a:xfrm>
        </p:spPr>
        <p:txBody>
          <a:bodyPr anchor="t"/>
          <a:lstStyle>
            <a:lvl1pPr algn="l">
              <a:defRPr sz="3508" b="1" cap="all"/>
            </a:lvl1pPr>
          </a:lstStyle>
          <a:p>
            <a:r>
              <a:rPr lang="en-US"/>
              <a:t>Click to edit Master title style</a:t>
            </a:r>
          </a:p>
        </p:txBody>
      </p:sp>
      <p:sp>
        <p:nvSpPr>
          <p:cNvPr id="3" name="Text Placeholder 2"/>
          <p:cNvSpPr>
            <a:spLocks noGrp="1"/>
          </p:cNvSpPr>
          <p:nvPr>
            <p:ph type="body" idx="1"/>
          </p:nvPr>
        </p:nvSpPr>
        <p:spPr>
          <a:xfrm>
            <a:off x="844705" y="3205459"/>
            <a:ext cx="9089390" cy="1654373"/>
          </a:xfrm>
        </p:spPr>
        <p:txBody>
          <a:bodyPr anchor="b"/>
          <a:lstStyle>
            <a:lvl1pPr marL="0" indent="0">
              <a:buNone/>
              <a:defRPr sz="1754"/>
            </a:lvl1pPr>
            <a:lvl2pPr marL="401010" indent="0">
              <a:buNone/>
              <a:defRPr sz="1579"/>
            </a:lvl2pPr>
            <a:lvl3pPr marL="802020" indent="0">
              <a:buNone/>
              <a:defRPr sz="1403"/>
            </a:lvl3pPr>
            <a:lvl4pPr marL="1203030" indent="0">
              <a:buNone/>
              <a:defRPr sz="1228"/>
            </a:lvl4pPr>
            <a:lvl5pPr marL="1604040" indent="0">
              <a:buNone/>
              <a:defRPr sz="1228"/>
            </a:lvl5pPr>
            <a:lvl6pPr marL="2005051" indent="0">
              <a:buNone/>
              <a:defRPr sz="1228"/>
            </a:lvl6pPr>
            <a:lvl7pPr marL="2406061" indent="0">
              <a:buNone/>
              <a:defRPr sz="1228"/>
            </a:lvl7pPr>
            <a:lvl8pPr marL="2807071" indent="0">
              <a:buNone/>
              <a:defRPr sz="1228"/>
            </a:lvl8pPr>
            <a:lvl9pPr marL="3208081" indent="0">
              <a:buNone/>
              <a:defRPr sz="1228"/>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5" name="Slide Number Placeholder 4"/>
          <p:cNvSpPr>
            <a:spLocks noGrp="1"/>
          </p:cNvSpPr>
          <p:nvPr>
            <p:ph type="sldNum" sz="quarter" idx="11"/>
          </p:nvPr>
        </p:nvSpPr>
        <p:spPr/>
        <p:txBody>
          <a:bodyPr/>
          <a:lstStyle>
            <a:lvl1pPr>
              <a:defRPr/>
            </a:lvl1pPr>
          </a:lstStyle>
          <a:p>
            <a:pPr>
              <a:defRPr/>
            </a:pPr>
            <a:fld id="{B40BA32D-BE36-4C25-B6DC-AF44B9363262}" type="slidenum">
              <a:rPr lang="en-US"/>
              <a:pPr>
                <a:defRPr/>
              </a:pPr>
              <a:t>‹#›</a:t>
            </a:fld>
            <a:endParaRPr lang="en-US"/>
          </a:p>
        </p:txBody>
      </p:sp>
      <p:sp>
        <p:nvSpPr>
          <p:cNvPr id="6" name="Date Placeholder 5"/>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33673310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innholdsbokser (farge v)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47C8-7AB2-B903-B53F-F6E8DB7756FF}"/>
              </a:ext>
            </a:extLst>
          </p:cNvPr>
          <p:cNvGraphicFramePr>
            <a:graphicFrameLocks noChangeAspect="1"/>
          </p:cNvGraphicFramePr>
          <p:nvPr userDrawn="1">
            <p:custDataLst>
              <p:tags r:id="rId1"/>
            </p:custDataLst>
            <p:extLst>
              <p:ext uri="{D42A27DB-BD31-4B8C-83A1-F6EECF244321}">
                <p14:modId xmlns:p14="http://schemas.microsoft.com/office/powerpoint/2010/main" val="414539536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C18047C8-7AB2-B903-B53F-F6E8DB7756F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Plassholder for innhold 12">
            <a:extLst>
              <a:ext uri="{FF2B5EF4-FFF2-40B4-BE49-F238E27FC236}">
                <a16:creationId xmlns:a16="http://schemas.microsoft.com/office/drawing/2014/main" id="{1768D556-D7BF-D5A7-2603-842DD12CF1B1}"/>
              </a:ext>
            </a:extLst>
          </p:cNvPr>
          <p:cNvSpPr>
            <a:spLocks noGrp="1"/>
          </p:cNvSpPr>
          <p:nvPr>
            <p:ph sz="quarter" idx="20"/>
          </p:nvPr>
        </p:nvSpPr>
        <p:spPr>
          <a:xfrm>
            <a:off x="231133" y="1441110"/>
            <a:ext cx="5020469" cy="5637400"/>
          </a:xfrm>
          <a:prstGeom prst="roundRect">
            <a:avLst>
              <a:gd name="adj" fmla="val 1261"/>
            </a:avLst>
          </a:prstGeom>
          <a:solidFill>
            <a:srgbClr val="EFE6FF"/>
          </a:solidFill>
        </p:spPr>
        <p:txBody>
          <a:bodyPr lIns="216000" tIns="216000" rIns="216000" bIns="216000"/>
          <a:lstStyle>
            <a:lvl1pPr marL="0" indent="0">
              <a:buNone/>
              <a:defRPr sz="1140"/>
            </a:lvl1pPr>
          </a:lstStyle>
          <a:p>
            <a:pPr lvl="0"/>
            <a:r>
              <a:rPr lang="nb-NO"/>
              <a:t>Klikk for å redigere tekststiler i malen</a:t>
            </a:r>
          </a:p>
        </p:txBody>
      </p:sp>
      <p:sp>
        <p:nvSpPr>
          <p:cNvPr id="3" name="Plassholder for lysbildenummer 1">
            <a:extLst>
              <a:ext uri="{FF2B5EF4-FFF2-40B4-BE49-F238E27FC236}">
                <a16:creationId xmlns:a16="http://schemas.microsoft.com/office/drawing/2014/main" id="{2AAE051F-1D07-F9A8-35A8-5F6DA3A8F4B9}"/>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ED42FCD6-E78B-5DE0-528B-EAD2E703E199}"/>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7" name="Plassholder for tekst 11">
            <a:extLst>
              <a:ext uri="{FF2B5EF4-FFF2-40B4-BE49-F238E27FC236}">
                <a16:creationId xmlns:a16="http://schemas.microsoft.com/office/drawing/2014/main" id="{3B80A331-9D22-E3D2-5A4D-99404C5B5FD4}"/>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tekst 7">
            <a:extLst>
              <a:ext uri="{FF2B5EF4-FFF2-40B4-BE49-F238E27FC236}">
                <a16:creationId xmlns:a16="http://schemas.microsoft.com/office/drawing/2014/main" id="{8B87AD99-AC9F-116D-A3F3-C69E42B990AE}"/>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5" name="Plassholder for innhold 3">
            <a:extLst>
              <a:ext uri="{FF2B5EF4-FFF2-40B4-BE49-F238E27FC236}">
                <a16:creationId xmlns:a16="http://schemas.microsoft.com/office/drawing/2014/main" id="{F166C36F-553B-3545-23BA-FE3CF76B58D9}"/>
              </a:ext>
            </a:extLst>
          </p:cNvPr>
          <p:cNvSpPr>
            <a:spLocks noGrp="1"/>
          </p:cNvSpPr>
          <p:nvPr>
            <p:ph sz="quarter" idx="18"/>
          </p:nvPr>
        </p:nvSpPr>
        <p:spPr>
          <a:xfrm>
            <a:off x="5441381"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8">
            <a:extLst>
              <a:ext uri="{FF2B5EF4-FFF2-40B4-BE49-F238E27FC236}">
                <a16:creationId xmlns:a16="http://schemas.microsoft.com/office/drawing/2014/main" id="{19FA5B81-1A58-92A2-6D72-AA0DCB3EA367}"/>
              </a:ext>
            </a:extLst>
          </p:cNvPr>
          <p:cNvSpPr>
            <a:spLocks noGrp="1"/>
          </p:cNvSpPr>
          <p:nvPr>
            <p:ph type="body" sz="quarter" idx="19"/>
          </p:nvPr>
        </p:nvSpPr>
        <p:spPr>
          <a:xfrm>
            <a:off x="5441381"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963286159"/>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092">
          <p15:clr>
            <a:srgbClr val="F26B43"/>
          </p15:clr>
        </p15:guide>
        <p15:guide id="3" orient="horz" pos="2228">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innholdsbokser (farge h)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47C8-7AB2-B903-B53F-F6E8DB7756FF}"/>
              </a:ext>
            </a:extLst>
          </p:cNvPr>
          <p:cNvGraphicFramePr>
            <a:graphicFrameLocks noChangeAspect="1"/>
          </p:cNvGraphicFramePr>
          <p:nvPr userDrawn="1">
            <p:custDataLst>
              <p:tags r:id="rId1"/>
            </p:custDataLst>
            <p:extLst>
              <p:ext uri="{D42A27DB-BD31-4B8C-83A1-F6EECF244321}">
                <p14:modId xmlns:p14="http://schemas.microsoft.com/office/powerpoint/2010/main" val="103542139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C18047C8-7AB2-B903-B53F-F6E8DB7756F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Plassholder for innhold 12">
            <a:extLst>
              <a:ext uri="{FF2B5EF4-FFF2-40B4-BE49-F238E27FC236}">
                <a16:creationId xmlns:a16="http://schemas.microsoft.com/office/drawing/2014/main" id="{AADE5982-AC46-5024-BFF6-3EE723FB6ABB}"/>
              </a:ext>
            </a:extLst>
          </p:cNvPr>
          <p:cNvSpPr>
            <a:spLocks noGrp="1"/>
          </p:cNvSpPr>
          <p:nvPr>
            <p:ph sz="quarter" idx="12"/>
          </p:nvPr>
        </p:nvSpPr>
        <p:spPr>
          <a:xfrm>
            <a:off x="7177667" y="1441110"/>
            <a:ext cx="3284601" cy="5637400"/>
          </a:xfrm>
          <a:prstGeom prst="roundRect">
            <a:avLst>
              <a:gd name="adj" fmla="val 1710"/>
            </a:avLst>
          </a:prstGeom>
          <a:solidFill>
            <a:srgbClr val="EFE6FF"/>
          </a:solidFill>
        </p:spPr>
        <p:txBody>
          <a:bodyPr lIns="216000" tIns="216000" rIns="216000" bIns="216000"/>
          <a:lstStyle>
            <a:lvl1pPr marL="0" indent="0">
              <a:buNone/>
              <a:defRPr sz="1140"/>
            </a:lvl1pPr>
          </a:lstStyle>
          <a:p>
            <a:pPr lvl="0"/>
            <a:r>
              <a:rPr lang="nb-NO"/>
              <a:t>Klikk for å redigere tekststiler i malen</a:t>
            </a:r>
          </a:p>
        </p:txBody>
      </p:sp>
      <p:sp>
        <p:nvSpPr>
          <p:cNvPr id="3" name="Plassholder for lysbildenummer 1">
            <a:extLst>
              <a:ext uri="{FF2B5EF4-FFF2-40B4-BE49-F238E27FC236}">
                <a16:creationId xmlns:a16="http://schemas.microsoft.com/office/drawing/2014/main" id="{2AAE051F-1D07-F9A8-35A8-5F6DA3A8F4B9}"/>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ED42FCD6-E78B-5DE0-528B-EAD2E703E199}"/>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7" name="Plassholder for tekst 11">
            <a:extLst>
              <a:ext uri="{FF2B5EF4-FFF2-40B4-BE49-F238E27FC236}">
                <a16:creationId xmlns:a16="http://schemas.microsoft.com/office/drawing/2014/main" id="{3B80A331-9D22-E3D2-5A4D-99404C5B5FD4}"/>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tekst 7">
            <a:extLst>
              <a:ext uri="{FF2B5EF4-FFF2-40B4-BE49-F238E27FC236}">
                <a16:creationId xmlns:a16="http://schemas.microsoft.com/office/drawing/2014/main" id="{8B87AD99-AC9F-116D-A3F3-C69E42B990AE}"/>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5" name="Plassholder for innhold 3">
            <a:extLst>
              <a:ext uri="{FF2B5EF4-FFF2-40B4-BE49-F238E27FC236}">
                <a16:creationId xmlns:a16="http://schemas.microsoft.com/office/drawing/2014/main" id="{F166C36F-553B-3545-23BA-FE3CF76B58D9}"/>
              </a:ext>
            </a:extLst>
          </p:cNvPr>
          <p:cNvSpPr>
            <a:spLocks noGrp="1"/>
          </p:cNvSpPr>
          <p:nvPr>
            <p:ph sz="quarter" idx="18"/>
          </p:nvPr>
        </p:nvSpPr>
        <p:spPr>
          <a:xfrm>
            <a:off x="231135" y="1717024"/>
            <a:ext cx="6757050"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8">
            <a:extLst>
              <a:ext uri="{FF2B5EF4-FFF2-40B4-BE49-F238E27FC236}">
                <a16:creationId xmlns:a16="http://schemas.microsoft.com/office/drawing/2014/main" id="{19FA5B81-1A58-92A2-6D72-AA0DCB3EA367}"/>
              </a:ext>
            </a:extLst>
          </p:cNvPr>
          <p:cNvSpPr>
            <a:spLocks noGrp="1"/>
          </p:cNvSpPr>
          <p:nvPr>
            <p:ph type="body" sz="quarter" idx="19"/>
          </p:nvPr>
        </p:nvSpPr>
        <p:spPr>
          <a:xfrm>
            <a:off x="231135" y="1439042"/>
            <a:ext cx="6757050"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2774924300"/>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092">
          <p15:clr>
            <a:srgbClr val="F26B43"/>
          </p15:clr>
        </p15:guide>
        <p15:guide id="3" orient="horz" pos="2228">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innholdsbokser (farge h)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47C8-7AB2-B903-B53F-F6E8DB7756FF}"/>
              </a:ext>
            </a:extLst>
          </p:cNvPr>
          <p:cNvGraphicFramePr>
            <a:graphicFrameLocks noChangeAspect="1"/>
          </p:cNvGraphicFramePr>
          <p:nvPr userDrawn="1">
            <p:custDataLst>
              <p:tags r:id="rId1"/>
            </p:custDataLst>
            <p:extLst>
              <p:ext uri="{D42A27DB-BD31-4B8C-83A1-F6EECF244321}">
                <p14:modId xmlns:p14="http://schemas.microsoft.com/office/powerpoint/2010/main" val="414539536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C18047C8-7AB2-B903-B53F-F6E8DB7756F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Plassholder for innhold 12">
            <a:extLst>
              <a:ext uri="{FF2B5EF4-FFF2-40B4-BE49-F238E27FC236}">
                <a16:creationId xmlns:a16="http://schemas.microsoft.com/office/drawing/2014/main" id="{1768D556-D7BF-D5A7-2603-842DD12CF1B1}"/>
              </a:ext>
            </a:extLst>
          </p:cNvPr>
          <p:cNvSpPr>
            <a:spLocks noGrp="1"/>
          </p:cNvSpPr>
          <p:nvPr>
            <p:ph sz="quarter" idx="20"/>
          </p:nvPr>
        </p:nvSpPr>
        <p:spPr>
          <a:xfrm>
            <a:off x="5441799" y="1441110"/>
            <a:ext cx="5020469" cy="5637400"/>
          </a:xfrm>
          <a:prstGeom prst="roundRect">
            <a:avLst>
              <a:gd name="adj" fmla="val 1261"/>
            </a:avLst>
          </a:prstGeom>
          <a:solidFill>
            <a:srgbClr val="EFE6FF"/>
          </a:solidFill>
        </p:spPr>
        <p:txBody>
          <a:bodyPr lIns="216000" tIns="216000" rIns="216000" bIns="216000"/>
          <a:lstStyle>
            <a:lvl1pPr marL="0" indent="0">
              <a:buNone/>
              <a:defRPr sz="1140"/>
            </a:lvl1pPr>
          </a:lstStyle>
          <a:p>
            <a:pPr lvl="0"/>
            <a:r>
              <a:rPr lang="nb-NO"/>
              <a:t>Klikk for å redigere tekststiler i malen</a:t>
            </a:r>
          </a:p>
        </p:txBody>
      </p:sp>
      <p:sp>
        <p:nvSpPr>
          <p:cNvPr id="3" name="Plassholder for lysbildenummer 1">
            <a:extLst>
              <a:ext uri="{FF2B5EF4-FFF2-40B4-BE49-F238E27FC236}">
                <a16:creationId xmlns:a16="http://schemas.microsoft.com/office/drawing/2014/main" id="{2AAE051F-1D07-F9A8-35A8-5F6DA3A8F4B9}"/>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ED42FCD6-E78B-5DE0-528B-EAD2E703E199}"/>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7" name="Plassholder for tekst 11">
            <a:extLst>
              <a:ext uri="{FF2B5EF4-FFF2-40B4-BE49-F238E27FC236}">
                <a16:creationId xmlns:a16="http://schemas.microsoft.com/office/drawing/2014/main" id="{3B80A331-9D22-E3D2-5A4D-99404C5B5FD4}"/>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tekst 7">
            <a:extLst>
              <a:ext uri="{FF2B5EF4-FFF2-40B4-BE49-F238E27FC236}">
                <a16:creationId xmlns:a16="http://schemas.microsoft.com/office/drawing/2014/main" id="{8B87AD99-AC9F-116D-A3F3-C69E42B990AE}"/>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5" name="Plassholder for innhold 3">
            <a:extLst>
              <a:ext uri="{FF2B5EF4-FFF2-40B4-BE49-F238E27FC236}">
                <a16:creationId xmlns:a16="http://schemas.microsoft.com/office/drawing/2014/main" id="{F166C36F-553B-3545-23BA-FE3CF76B58D9}"/>
              </a:ext>
            </a:extLst>
          </p:cNvPr>
          <p:cNvSpPr>
            <a:spLocks noGrp="1"/>
          </p:cNvSpPr>
          <p:nvPr>
            <p:ph sz="quarter" idx="18"/>
          </p:nvPr>
        </p:nvSpPr>
        <p:spPr>
          <a:xfrm>
            <a:off x="231135"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8">
            <a:extLst>
              <a:ext uri="{FF2B5EF4-FFF2-40B4-BE49-F238E27FC236}">
                <a16:creationId xmlns:a16="http://schemas.microsoft.com/office/drawing/2014/main" id="{19FA5B81-1A58-92A2-6D72-AA0DCB3EA367}"/>
              </a:ext>
            </a:extLst>
          </p:cNvPr>
          <p:cNvSpPr>
            <a:spLocks noGrp="1"/>
          </p:cNvSpPr>
          <p:nvPr>
            <p:ph type="body" sz="quarter" idx="19"/>
          </p:nvPr>
        </p:nvSpPr>
        <p:spPr>
          <a:xfrm>
            <a:off x="231135"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Tree>
    <p:extLst>
      <p:ext uri="{BB962C8B-B14F-4D97-AF65-F5344CB8AC3E}">
        <p14:creationId xmlns:p14="http://schemas.microsoft.com/office/powerpoint/2010/main" val="2230139695"/>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2228">
          <p15:clr>
            <a:srgbClr val="F26B43"/>
          </p15:clr>
        </p15:guide>
        <p15:guide id="3" orient="horz" pos="2092">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lde høyre #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393776723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Plassholder for bilde 13">
            <a:extLst>
              <a:ext uri="{FF2B5EF4-FFF2-40B4-BE49-F238E27FC236}">
                <a16:creationId xmlns:a16="http://schemas.microsoft.com/office/drawing/2014/main" id="{1827CE53-B5BB-B228-A16C-C8B00C3D14A4}"/>
              </a:ext>
            </a:extLst>
          </p:cNvPr>
          <p:cNvSpPr>
            <a:spLocks noGrp="1"/>
          </p:cNvSpPr>
          <p:nvPr>
            <p:ph type="pic" sz="quarter" idx="17" hasCustomPrompt="1"/>
          </p:nvPr>
        </p:nvSpPr>
        <p:spPr>
          <a:xfrm>
            <a:off x="5441382" y="248594"/>
            <a:ext cx="5020885" cy="7065663"/>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231135" y="248595"/>
            <a:ext cx="5020884"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231135"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231135"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 name="Plassholder for lysbildenummer 1">
            <a:extLst>
              <a:ext uri="{FF2B5EF4-FFF2-40B4-BE49-F238E27FC236}">
                <a16:creationId xmlns:a16="http://schemas.microsoft.com/office/drawing/2014/main" id="{C65F1676-3428-946C-79FC-041BB551C26C}"/>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0" name="TekstSylinder 9">
            <a:extLst>
              <a:ext uri="{FF2B5EF4-FFF2-40B4-BE49-F238E27FC236}">
                <a16:creationId xmlns:a16="http://schemas.microsoft.com/office/drawing/2014/main" id="{489F85C6-E7FC-5A1E-012A-BD81FEE2F4AC}"/>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1" name="Plassholder for tekst 11">
            <a:extLst>
              <a:ext uri="{FF2B5EF4-FFF2-40B4-BE49-F238E27FC236}">
                <a16:creationId xmlns:a16="http://schemas.microsoft.com/office/drawing/2014/main" id="{060ADFC3-9104-C057-867A-B1D0E8E6D22C}"/>
              </a:ext>
            </a:extLst>
          </p:cNvPr>
          <p:cNvSpPr>
            <a:spLocks noGrp="1"/>
          </p:cNvSpPr>
          <p:nvPr>
            <p:ph type="body" sz="quarter" idx="13" hasCustomPrompt="1"/>
          </p:nvPr>
        </p:nvSpPr>
        <p:spPr>
          <a:xfrm>
            <a:off x="5046835"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Tree>
    <p:extLst>
      <p:ext uri="{BB962C8B-B14F-4D97-AF65-F5344CB8AC3E}">
        <p14:creationId xmlns:p14="http://schemas.microsoft.com/office/powerpoint/2010/main" val="3420020857"/>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ilde høyre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19320715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231135" y="248595"/>
            <a:ext cx="10231131"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231135"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231135"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 name="Plassholder for lysbildenummer 1">
            <a:extLst>
              <a:ext uri="{FF2B5EF4-FFF2-40B4-BE49-F238E27FC236}">
                <a16:creationId xmlns:a16="http://schemas.microsoft.com/office/drawing/2014/main" id="{C65F1676-3428-946C-79FC-041BB551C26C}"/>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0" name="TekstSylinder 9">
            <a:extLst>
              <a:ext uri="{FF2B5EF4-FFF2-40B4-BE49-F238E27FC236}">
                <a16:creationId xmlns:a16="http://schemas.microsoft.com/office/drawing/2014/main" id="{489F85C6-E7FC-5A1E-012A-BD81FEE2F4AC}"/>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1" name="Plassholder for tekst 11">
            <a:extLst>
              <a:ext uri="{FF2B5EF4-FFF2-40B4-BE49-F238E27FC236}">
                <a16:creationId xmlns:a16="http://schemas.microsoft.com/office/drawing/2014/main" id="{060ADFC3-9104-C057-867A-B1D0E8E6D22C}"/>
              </a:ext>
            </a:extLst>
          </p:cNvPr>
          <p:cNvSpPr>
            <a:spLocks noGrp="1"/>
          </p:cNvSpPr>
          <p:nvPr>
            <p:ph type="body" sz="quarter" idx="13" hasCustomPrompt="1"/>
          </p:nvPr>
        </p:nvSpPr>
        <p:spPr>
          <a:xfrm>
            <a:off x="5046835"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bilde 13">
            <a:extLst>
              <a:ext uri="{FF2B5EF4-FFF2-40B4-BE49-F238E27FC236}">
                <a16:creationId xmlns:a16="http://schemas.microsoft.com/office/drawing/2014/main" id="{593154E1-62FA-280E-D2E2-F6B1F389E451}"/>
              </a:ext>
            </a:extLst>
          </p:cNvPr>
          <p:cNvSpPr>
            <a:spLocks noGrp="1"/>
          </p:cNvSpPr>
          <p:nvPr>
            <p:ph type="pic" sz="quarter" idx="17" hasCustomPrompt="1"/>
          </p:nvPr>
        </p:nvSpPr>
        <p:spPr>
          <a:xfrm>
            <a:off x="5441382" y="1439042"/>
            <a:ext cx="5020885" cy="5875214"/>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Tree>
    <p:extLst>
      <p:ext uri="{BB962C8B-B14F-4D97-AF65-F5344CB8AC3E}">
        <p14:creationId xmlns:p14="http://schemas.microsoft.com/office/powerpoint/2010/main" val="3512698562"/>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Bilde høyre #2">
    <p:bg>
      <p:bgPr>
        <a:solidFill>
          <a:srgbClr val="ECFFA5"/>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19320715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231135" y="248595"/>
            <a:ext cx="10231131"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231135"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231135"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bilde 13">
            <a:extLst>
              <a:ext uri="{FF2B5EF4-FFF2-40B4-BE49-F238E27FC236}">
                <a16:creationId xmlns:a16="http://schemas.microsoft.com/office/drawing/2014/main" id="{593154E1-62FA-280E-D2E2-F6B1F389E451}"/>
              </a:ext>
            </a:extLst>
          </p:cNvPr>
          <p:cNvSpPr>
            <a:spLocks noGrp="1"/>
          </p:cNvSpPr>
          <p:nvPr>
            <p:ph type="pic" sz="quarter" idx="17" hasCustomPrompt="1"/>
          </p:nvPr>
        </p:nvSpPr>
        <p:spPr>
          <a:xfrm>
            <a:off x="5441382" y="1439042"/>
            <a:ext cx="5020885" cy="5875214"/>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Tree>
    <p:extLst>
      <p:ext uri="{BB962C8B-B14F-4D97-AF65-F5344CB8AC3E}">
        <p14:creationId xmlns:p14="http://schemas.microsoft.com/office/powerpoint/2010/main" val="1657064666"/>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e høyre #2">
    <p:bg>
      <p:bgPr>
        <a:solidFill>
          <a:srgbClr val="FFC4C4"/>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19320715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231135" y="248595"/>
            <a:ext cx="10231131"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231135"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231135"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 name="Plassholder for lysbildenummer 1">
            <a:extLst>
              <a:ext uri="{FF2B5EF4-FFF2-40B4-BE49-F238E27FC236}">
                <a16:creationId xmlns:a16="http://schemas.microsoft.com/office/drawing/2014/main" id="{C65F1676-3428-946C-79FC-041BB551C26C}"/>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0" name="TekstSylinder 9">
            <a:extLst>
              <a:ext uri="{FF2B5EF4-FFF2-40B4-BE49-F238E27FC236}">
                <a16:creationId xmlns:a16="http://schemas.microsoft.com/office/drawing/2014/main" id="{489F85C6-E7FC-5A1E-012A-BD81FEE2F4AC}"/>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1" name="Plassholder for tekst 11">
            <a:extLst>
              <a:ext uri="{FF2B5EF4-FFF2-40B4-BE49-F238E27FC236}">
                <a16:creationId xmlns:a16="http://schemas.microsoft.com/office/drawing/2014/main" id="{060ADFC3-9104-C057-867A-B1D0E8E6D22C}"/>
              </a:ext>
            </a:extLst>
          </p:cNvPr>
          <p:cNvSpPr>
            <a:spLocks noGrp="1"/>
          </p:cNvSpPr>
          <p:nvPr>
            <p:ph type="body" sz="quarter" idx="13" hasCustomPrompt="1"/>
          </p:nvPr>
        </p:nvSpPr>
        <p:spPr>
          <a:xfrm>
            <a:off x="5046835"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Plassholder for bilde 13">
            <a:extLst>
              <a:ext uri="{FF2B5EF4-FFF2-40B4-BE49-F238E27FC236}">
                <a16:creationId xmlns:a16="http://schemas.microsoft.com/office/drawing/2014/main" id="{593154E1-62FA-280E-D2E2-F6B1F389E451}"/>
              </a:ext>
            </a:extLst>
          </p:cNvPr>
          <p:cNvSpPr>
            <a:spLocks noGrp="1"/>
          </p:cNvSpPr>
          <p:nvPr>
            <p:ph type="pic" sz="quarter" idx="17" hasCustomPrompt="1"/>
          </p:nvPr>
        </p:nvSpPr>
        <p:spPr>
          <a:xfrm>
            <a:off x="5441382" y="1439042"/>
            <a:ext cx="5020885" cy="5875214"/>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Tree>
    <p:extLst>
      <p:ext uri="{BB962C8B-B14F-4D97-AF65-F5344CB8AC3E}">
        <p14:creationId xmlns:p14="http://schemas.microsoft.com/office/powerpoint/2010/main" val="1004418367"/>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e venstre #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393776723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Plassholder for bilde 13">
            <a:extLst>
              <a:ext uri="{FF2B5EF4-FFF2-40B4-BE49-F238E27FC236}">
                <a16:creationId xmlns:a16="http://schemas.microsoft.com/office/drawing/2014/main" id="{1827CE53-B5BB-B228-A16C-C8B00C3D14A4}"/>
              </a:ext>
            </a:extLst>
          </p:cNvPr>
          <p:cNvSpPr>
            <a:spLocks noGrp="1"/>
          </p:cNvSpPr>
          <p:nvPr>
            <p:ph type="pic" sz="quarter" idx="17" hasCustomPrompt="1"/>
          </p:nvPr>
        </p:nvSpPr>
        <p:spPr>
          <a:xfrm>
            <a:off x="231136" y="248594"/>
            <a:ext cx="5020885" cy="7065663"/>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5441381" y="248595"/>
            <a:ext cx="5020884"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5441381"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5441381"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tekst 11">
            <a:extLst>
              <a:ext uri="{FF2B5EF4-FFF2-40B4-BE49-F238E27FC236}">
                <a16:creationId xmlns:a16="http://schemas.microsoft.com/office/drawing/2014/main" id="{146AE011-F22F-4147-3A01-D2B75FCFE237}"/>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Tree>
    <p:extLst>
      <p:ext uri="{BB962C8B-B14F-4D97-AF65-F5344CB8AC3E}">
        <p14:creationId xmlns:p14="http://schemas.microsoft.com/office/powerpoint/2010/main" val="246451303"/>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de venstre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E6298-A6B5-79EF-0770-A85C6E133030}"/>
              </a:ext>
            </a:extLst>
          </p:cNvPr>
          <p:cNvGraphicFramePr>
            <a:graphicFrameLocks noChangeAspect="1"/>
          </p:cNvGraphicFramePr>
          <p:nvPr userDrawn="1">
            <p:custDataLst>
              <p:tags r:id="rId1"/>
            </p:custDataLst>
            <p:extLst>
              <p:ext uri="{D42A27DB-BD31-4B8C-83A1-F6EECF244321}">
                <p14:modId xmlns:p14="http://schemas.microsoft.com/office/powerpoint/2010/main" val="393776723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DC2E6298-A6B5-79EF-0770-A85C6E13303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Plassholder for bilde 13">
            <a:extLst>
              <a:ext uri="{FF2B5EF4-FFF2-40B4-BE49-F238E27FC236}">
                <a16:creationId xmlns:a16="http://schemas.microsoft.com/office/drawing/2014/main" id="{1827CE53-B5BB-B228-A16C-C8B00C3D14A4}"/>
              </a:ext>
            </a:extLst>
          </p:cNvPr>
          <p:cNvSpPr>
            <a:spLocks noGrp="1"/>
          </p:cNvSpPr>
          <p:nvPr>
            <p:ph type="pic" sz="quarter" idx="17" hasCustomPrompt="1"/>
          </p:nvPr>
        </p:nvSpPr>
        <p:spPr>
          <a:xfrm>
            <a:off x="231136" y="1439042"/>
            <a:ext cx="5020885" cy="5875214"/>
          </a:xfrm>
          <a:prstGeom prst="roundRect">
            <a:avLst>
              <a:gd name="adj" fmla="val 1083"/>
            </a:avLst>
          </a:prstGeom>
          <a:solidFill>
            <a:schemeClr val="bg1">
              <a:lumMod val="95000"/>
            </a:schemeClr>
          </a:solidFill>
        </p:spPr>
        <p:txBody>
          <a:bodyPr wrap="square">
            <a:noAutofit/>
          </a:bodyPr>
          <a:lstStyle>
            <a:lvl1pPr marL="0" indent="0">
              <a:buNone/>
              <a:defRPr sz="2105">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6" name="Plassholder for tekst 7">
            <a:extLst>
              <a:ext uri="{FF2B5EF4-FFF2-40B4-BE49-F238E27FC236}">
                <a16:creationId xmlns:a16="http://schemas.microsoft.com/office/drawing/2014/main" id="{1CE77A05-AABA-6330-C7BE-2747522AD287}"/>
              </a:ext>
            </a:extLst>
          </p:cNvPr>
          <p:cNvSpPr>
            <a:spLocks noGrp="1"/>
          </p:cNvSpPr>
          <p:nvPr>
            <p:ph type="body" sz="quarter" idx="11"/>
          </p:nvPr>
        </p:nvSpPr>
        <p:spPr>
          <a:xfrm>
            <a:off x="231136" y="248595"/>
            <a:ext cx="10231130"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3">
            <a:extLst>
              <a:ext uri="{FF2B5EF4-FFF2-40B4-BE49-F238E27FC236}">
                <a16:creationId xmlns:a16="http://schemas.microsoft.com/office/drawing/2014/main" id="{DDF13B34-9D2A-A924-2E28-E2874471632F}"/>
              </a:ext>
            </a:extLst>
          </p:cNvPr>
          <p:cNvSpPr>
            <a:spLocks noGrp="1"/>
          </p:cNvSpPr>
          <p:nvPr>
            <p:ph sz="quarter" idx="18"/>
          </p:nvPr>
        </p:nvSpPr>
        <p:spPr>
          <a:xfrm>
            <a:off x="5441381" y="1717024"/>
            <a:ext cx="5020469" cy="5359500"/>
          </a:xfrm>
          <a:prstGeom prst="rect">
            <a:avLst/>
          </a:prstGeom>
        </p:spPr>
        <p:txBody>
          <a:bodyPr lIns="36000" tIns="36000" rIns="36000" bIns="36000"/>
          <a:lstStyle>
            <a:lvl1pPr marL="126302" indent="-126302">
              <a:lnSpc>
                <a:spcPct val="105000"/>
              </a:lnSpc>
              <a:defRPr sz="1140"/>
            </a:lvl1pPr>
            <a:lvl2pPr marL="347332" indent="-126302">
              <a:lnSpc>
                <a:spcPct val="105000"/>
              </a:lnSpc>
              <a:defRPr sz="1140"/>
            </a:lvl2pPr>
            <a:lvl3pPr marL="568361" indent="-126302">
              <a:lnSpc>
                <a:spcPct val="105000"/>
              </a:lnSpc>
              <a:defRPr sz="1140"/>
            </a:lvl3pPr>
            <a:lvl4pPr marL="789390" indent="-126302">
              <a:lnSpc>
                <a:spcPct val="105000"/>
              </a:lnSpc>
              <a:defRPr sz="1140"/>
            </a:lvl4pPr>
            <a:lvl5pPr marL="1010419" indent="-126302">
              <a:lnSpc>
                <a:spcPct val="105000"/>
              </a:lnSpc>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8">
            <a:extLst>
              <a:ext uri="{FF2B5EF4-FFF2-40B4-BE49-F238E27FC236}">
                <a16:creationId xmlns:a16="http://schemas.microsoft.com/office/drawing/2014/main" id="{69E0BADB-B8E2-D356-62DF-D8594CA62D55}"/>
              </a:ext>
            </a:extLst>
          </p:cNvPr>
          <p:cNvSpPr>
            <a:spLocks noGrp="1"/>
          </p:cNvSpPr>
          <p:nvPr>
            <p:ph type="body" sz="quarter" idx="19"/>
          </p:nvPr>
        </p:nvSpPr>
        <p:spPr>
          <a:xfrm>
            <a:off x="5441381" y="1439042"/>
            <a:ext cx="5020469"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 name="Plassholder for tekst 11">
            <a:extLst>
              <a:ext uri="{FF2B5EF4-FFF2-40B4-BE49-F238E27FC236}">
                <a16:creationId xmlns:a16="http://schemas.microsoft.com/office/drawing/2014/main" id="{146AE011-F22F-4147-3A01-D2B75FCFE237}"/>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Tree>
    <p:extLst>
      <p:ext uri="{BB962C8B-B14F-4D97-AF65-F5344CB8AC3E}">
        <p14:creationId xmlns:p14="http://schemas.microsoft.com/office/powerpoint/2010/main" val="2854981432"/>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art m 6 tombstone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B2FD88-81BC-C37E-FAFB-A7573AD298ED}"/>
              </a:ext>
            </a:extLst>
          </p:cNvPr>
          <p:cNvGraphicFramePr>
            <a:graphicFrameLocks noChangeAspect="1"/>
          </p:cNvGraphicFramePr>
          <p:nvPr userDrawn="1">
            <p:custDataLst>
              <p:tags r:id="rId1"/>
            </p:custDataLst>
            <p:extLst>
              <p:ext uri="{D42A27DB-BD31-4B8C-83A1-F6EECF244321}">
                <p14:modId xmlns:p14="http://schemas.microsoft.com/office/powerpoint/2010/main" val="208174892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5" name="think-cell data - do not delete" hidden="1">
                        <a:extLst>
                          <a:ext uri="{FF2B5EF4-FFF2-40B4-BE49-F238E27FC236}">
                            <a16:creationId xmlns:a16="http://schemas.microsoft.com/office/drawing/2014/main" id="{38B2FD88-81BC-C37E-FAFB-A7573AD298E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Plassholder for innhold 12">
            <a:extLst>
              <a:ext uri="{FF2B5EF4-FFF2-40B4-BE49-F238E27FC236}">
                <a16:creationId xmlns:a16="http://schemas.microsoft.com/office/drawing/2014/main" id="{41094828-EEAD-F2FD-AA3C-E7FC69EC44C8}"/>
              </a:ext>
            </a:extLst>
          </p:cNvPr>
          <p:cNvSpPr>
            <a:spLocks noGrp="1"/>
          </p:cNvSpPr>
          <p:nvPr>
            <p:ph sz="quarter" idx="12"/>
          </p:nvPr>
        </p:nvSpPr>
        <p:spPr>
          <a:xfrm>
            <a:off x="5346700" y="1677325"/>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25" name="Plassholder for innhold 3">
            <a:extLst>
              <a:ext uri="{FF2B5EF4-FFF2-40B4-BE49-F238E27FC236}">
                <a16:creationId xmlns:a16="http://schemas.microsoft.com/office/drawing/2014/main" id="{36CAE276-4420-4694-B5BD-1723A0DAB892}"/>
              </a:ext>
            </a:extLst>
          </p:cNvPr>
          <p:cNvSpPr>
            <a:spLocks noGrp="1"/>
          </p:cNvSpPr>
          <p:nvPr>
            <p:ph sz="quarter" idx="16" hasCustomPrompt="1"/>
          </p:nvPr>
        </p:nvSpPr>
        <p:spPr>
          <a:xfrm>
            <a:off x="5346701" y="16773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23" name="Plassholder for bilde 13">
            <a:extLst>
              <a:ext uri="{FF2B5EF4-FFF2-40B4-BE49-F238E27FC236}">
                <a16:creationId xmlns:a16="http://schemas.microsoft.com/office/drawing/2014/main" id="{D753FF8B-16C3-FCB6-E6C8-FBD791F9C5DC}"/>
              </a:ext>
            </a:extLst>
          </p:cNvPr>
          <p:cNvSpPr>
            <a:spLocks noGrp="1"/>
          </p:cNvSpPr>
          <p:nvPr>
            <p:ph type="pic" sz="quarter" idx="24"/>
          </p:nvPr>
        </p:nvSpPr>
        <p:spPr>
          <a:xfrm>
            <a:off x="3706488" y="5544126"/>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2" name="Plassholder for bilde 13">
            <a:extLst>
              <a:ext uri="{FF2B5EF4-FFF2-40B4-BE49-F238E27FC236}">
                <a16:creationId xmlns:a16="http://schemas.microsoft.com/office/drawing/2014/main" id="{E39FFD4C-8BCB-B9D2-710D-DD416E73BF70}"/>
              </a:ext>
            </a:extLst>
          </p:cNvPr>
          <p:cNvSpPr>
            <a:spLocks noGrp="1"/>
          </p:cNvSpPr>
          <p:nvPr>
            <p:ph type="pic" sz="quarter" idx="18" hasCustomPrompt="1"/>
          </p:nvPr>
        </p:nvSpPr>
        <p:spPr>
          <a:xfrm>
            <a:off x="231134" y="1439124"/>
            <a:ext cx="3284601" cy="5637400"/>
          </a:xfrm>
          <a:prstGeom prst="roundRect">
            <a:avLst>
              <a:gd name="adj" fmla="val 1678"/>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
        <p:nvSpPr>
          <p:cNvPr id="5" name="Plassholder for tekst 7">
            <a:extLst>
              <a:ext uri="{FF2B5EF4-FFF2-40B4-BE49-F238E27FC236}">
                <a16:creationId xmlns:a16="http://schemas.microsoft.com/office/drawing/2014/main" id="{1A2A0282-35D2-2513-A67D-1931253BF139}"/>
              </a:ext>
            </a:extLst>
          </p:cNvPr>
          <p:cNvSpPr>
            <a:spLocks noGrp="1"/>
          </p:cNvSpPr>
          <p:nvPr>
            <p:ph type="body" sz="quarter" idx="11"/>
          </p:nvPr>
        </p:nvSpPr>
        <p:spPr>
          <a:xfrm>
            <a:off x="231136" y="248595"/>
            <a:ext cx="10231132" cy="952358"/>
          </a:xfrm>
          <a:prstGeom prst="rect">
            <a:avLst/>
          </a:prstGeom>
        </p:spPr>
        <p:txBody>
          <a:bodyPr lIns="36000" tIns="36000" rIns="36000" bIns="3600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16" name="Plassholder for bilde 13">
            <a:extLst>
              <a:ext uri="{FF2B5EF4-FFF2-40B4-BE49-F238E27FC236}">
                <a16:creationId xmlns:a16="http://schemas.microsoft.com/office/drawing/2014/main" id="{AFE08466-6B63-98EF-A975-DCE10DF90EB2}"/>
              </a:ext>
            </a:extLst>
          </p:cNvPr>
          <p:cNvSpPr>
            <a:spLocks noGrp="1"/>
          </p:cNvSpPr>
          <p:nvPr>
            <p:ph type="pic" sz="quarter" idx="19"/>
          </p:nvPr>
        </p:nvSpPr>
        <p:spPr>
          <a:xfrm>
            <a:off x="3706488" y="16773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19" name="Plassholder for tekst 8">
            <a:extLst>
              <a:ext uri="{FF2B5EF4-FFF2-40B4-BE49-F238E27FC236}">
                <a16:creationId xmlns:a16="http://schemas.microsoft.com/office/drawing/2014/main" id="{ABC55796-19AA-EB81-B2A8-04DCAED325E4}"/>
              </a:ext>
            </a:extLst>
          </p:cNvPr>
          <p:cNvSpPr>
            <a:spLocks noGrp="1"/>
          </p:cNvSpPr>
          <p:nvPr>
            <p:ph type="body" sz="quarter" idx="17"/>
          </p:nvPr>
        </p:nvSpPr>
        <p:spPr>
          <a:xfrm>
            <a:off x="3706488" y="1441110"/>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0" name="Plassholder for tekst 8">
            <a:extLst>
              <a:ext uri="{FF2B5EF4-FFF2-40B4-BE49-F238E27FC236}">
                <a16:creationId xmlns:a16="http://schemas.microsoft.com/office/drawing/2014/main" id="{7ADAFBC6-E1D6-5B1E-0DDF-EC2BFD059471}"/>
              </a:ext>
            </a:extLst>
          </p:cNvPr>
          <p:cNvSpPr>
            <a:spLocks noGrp="1"/>
          </p:cNvSpPr>
          <p:nvPr>
            <p:ph type="body" sz="quarter" idx="22"/>
          </p:nvPr>
        </p:nvSpPr>
        <p:spPr>
          <a:xfrm>
            <a:off x="3706488" y="3373496"/>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1" name="Plassholder for tekst 8">
            <a:extLst>
              <a:ext uri="{FF2B5EF4-FFF2-40B4-BE49-F238E27FC236}">
                <a16:creationId xmlns:a16="http://schemas.microsoft.com/office/drawing/2014/main" id="{B48B4116-502D-49C1-EBED-C1B3A7E86838}"/>
              </a:ext>
            </a:extLst>
          </p:cNvPr>
          <p:cNvSpPr>
            <a:spLocks noGrp="1"/>
          </p:cNvSpPr>
          <p:nvPr>
            <p:ph type="body" sz="quarter" idx="23"/>
          </p:nvPr>
        </p:nvSpPr>
        <p:spPr>
          <a:xfrm>
            <a:off x="3706488" y="5305882"/>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24" name="Plassholder for bilde 13">
            <a:extLst>
              <a:ext uri="{FF2B5EF4-FFF2-40B4-BE49-F238E27FC236}">
                <a16:creationId xmlns:a16="http://schemas.microsoft.com/office/drawing/2014/main" id="{6B7FEE9B-D19A-49FD-9F00-F6CD75AA1150}"/>
              </a:ext>
            </a:extLst>
          </p:cNvPr>
          <p:cNvSpPr>
            <a:spLocks noGrp="1"/>
          </p:cNvSpPr>
          <p:nvPr>
            <p:ph type="pic" sz="quarter" idx="25"/>
          </p:nvPr>
        </p:nvSpPr>
        <p:spPr>
          <a:xfrm>
            <a:off x="3706488" y="36107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30" name="Plassholder for bilde 13">
            <a:extLst>
              <a:ext uri="{FF2B5EF4-FFF2-40B4-BE49-F238E27FC236}">
                <a16:creationId xmlns:a16="http://schemas.microsoft.com/office/drawing/2014/main" id="{32F956AD-9969-1BB3-BD74-5BD2DB7E0709}"/>
              </a:ext>
            </a:extLst>
          </p:cNvPr>
          <p:cNvSpPr>
            <a:spLocks noGrp="1"/>
          </p:cNvSpPr>
          <p:nvPr>
            <p:ph type="pic" sz="quarter" idx="28"/>
          </p:nvPr>
        </p:nvSpPr>
        <p:spPr>
          <a:xfrm>
            <a:off x="7177666" y="5544126"/>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31" name="Plassholder for bilde 13">
            <a:extLst>
              <a:ext uri="{FF2B5EF4-FFF2-40B4-BE49-F238E27FC236}">
                <a16:creationId xmlns:a16="http://schemas.microsoft.com/office/drawing/2014/main" id="{331458B9-C090-30DC-010B-D2F99FBAF70B}"/>
              </a:ext>
            </a:extLst>
          </p:cNvPr>
          <p:cNvSpPr>
            <a:spLocks noGrp="1"/>
          </p:cNvSpPr>
          <p:nvPr>
            <p:ph type="pic" sz="quarter" idx="29"/>
          </p:nvPr>
        </p:nvSpPr>
        <p:spPr>
          <a:xfrm>
            <a:off x="7177666" y="16773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32" name="Plassholder for tekst 8">
            <a:extLst>
              <a:ext uri="{FF2B5EF4-FFF2-40B4-BE49-F238E27FC236}">
                <a16:creationId xmlns:a16="http://schemas.microsoft.com/office/drawing/2014/main" id="{50B927C0-AD8B-508D-A110-D58F9AD07082}"/>
              </a:ext>
            </a:extLst>
          </p:cNvPr>
          <p:cNvSpPr>
            <a:spLocks noGrp="1"/>
          </p:cNvSpPr>
          <p:nvPr>
            <p:ph type="body" sz="quarter" idx="30"/>
          </p:nvPr>
        </p:nvSpPr>
        <p:spPr>
          <a:xfrm>
            <a:off x="7178467" y="1441110"/>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33" name="Plassholder for tekst 8">
            <a:extLst>
              <a:ext uri="{FF2B5EF4-FFF2-40B4-BE49-F238E27FC236}">
                <a16:creationId xmlns:a16="http://schemas.microsoft.com/office/drawing/2014/main" id="{39D751DB-865B-6FE5-8FD3-A87F64C2B612}"/>
              </a:ext>
            </a:extLst>
          </p:cNvPr>
          <p:cNvSpPr>
            <a:spLocks noGrp="1"/>
          </p:cNvSpPr>
          <p:nvPr>
            <p:ph type="body" sz="quarter" idx="31"/>
          </p:nvPr>
        </p:nvSpPr>
        <p:spPr>
          <a:xfrm>
            <a:off x="7177667" y="3373496"/>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34" name="Plassholder for tekst 8">
            <a:extLst>
              <a:ext uri="{FF2B5EF4-FFF2-40B4-BE49-F238E27FC236}">
                <a16:creationId xmlns:a16="http://schemas.microsoft.com/office/drawing/2014/main" id="{B993F6B4-8495-8CBB-E092-102FF26570F2}"/>
              </a:ext>
            </a:extLst>
          </p:cNvPr>
          <p:cNvSpPr>
            <a:spLocks noGrp="1"/>
          </p:cNvSpPr>
          <p:nvPr>
            <p:ph type="body" sz="quarter" idx="32"/>
          </p:nvPr>
        </p:nvSpPr>
        <p:spPr>
          <a:xfrm>
            <a:off x="7177667" y="5305882"/>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35" name="Plassholder for bilde 13">
            <a:extLst>
              <a:ext uri="{FF2B5EF4-FFF2-40B4-BE49-F238E27FC236}">
                <a16:creationId xmlns:a16="http://schemas.microsoft.com/office/drawing/2014/main" id="{25E05C37-9463-4FF4-ED84-63E11D5B3CDC}"/>
              </a:ext>
            </a:extLst>
          </p:cNvPr>
          <p:cNvSpPr>
            <a:spLocks noGrp="1"/>
          </p:cNvSpPr>
          <p:nvPr>
            <p:ph type="pic" sz="quarter" idx="33"/>
          </p:nvPr>
        </p:nvSpPr>
        <p:spPr>
          <a:xfrm>
            <a:off x="7177666" y="36107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4" name="Plassholder for innhold 12">
            <a:extLst>
              <a:ext uri="{FF2B5EF4-FFF2-40B4-BE49-F238E27FC236}">
                <a16:creationId xmlns:a16="http://schemas.microsoft.com/office/drawing/2014/main" id="{F25D1B55-61C6-E142-DFC3-125CF5F7DDE0}"/>
              </a:ext>
            </a:extLst>
          </p:cNvPr>
          <p:cNvSpPr>
            <a:spLocks noGrp="1"/>
          </p:cNvSpPr>
          <p:nvPr>
            <p:ph sz="quarter" idx="34"/>
          </p:nvPr>
        </p:nvSpPr>
        <p:spPr>
          <a:xfrm>
            <a:off x="5346700" y="3610703"/>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8" name="Plassholder for innhold 12">
            <a:extLst>
              <a:ext uri="{FF2B5EF4-FFF2-40B4-BE49-F238E27FC236}">
                <a16:creationId xmlns:a16="http://schemas.microsoft.com/office/drawing/2014/main" id="{F8B80FF4-FD85-3AB0-7314-EB387198CB2C}"/>
              </a:ext>
            </a:extLst>
          </p:cNvPr>
          <p:cNvSpPr>
            <a:spLocks noGrp="1"/>
          </p:cNvSpPr>
          <p:nvPr>
            <p:ph sz="quarter" idx="36"/>
          </p:nvPr>
        </p:nvSpPr>
        <p:spPr>
          <a:xfrm>
            <a:off x="5346700" y="5544104"/>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9" name="Plassholder for innhold 3">
            <a:extLst>
              <a:ext uri="{FF2B5EF4-FFF2-40B4-BE49-F238E27FC236}">
                <a16:creationId xmlns:a16="http://schemas.microsoft.com/office/drawing/2014/main" id="{DA11AA98-E713-5A53-1EFD-CB2BE74D9436}"/>
              </a:ext>
            </a:extLst>
          </p:cNvPr>
          <p:cNvSpPr>
            <a:spLocks noGrp="1"/>
          </p:cNvSpPr>
          <p:nvPr>
            <p:ph sz="quarter" idx="37" hasCustomPrompt="1"/>
          </p:nvPr>
        </p:nvSpPr>
        <p:spPr>
          <a:xfrm>
            <a:off x="5346701" y="5544126"/>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7" name="Plassholder for innhold 3">
            <a:extLst>
              <a:ext uri="{FF2B5EF4-FFF2-40B4-BE49-F238E27FC236}">
                <a16:creationId xmlns:a16="http://schemas.microsoft.com/office/drawing/2014/main" id="{DCD467FB-E6EC-E33E-CC5E-3AC0D1FEC6ED}"/>
              </a:ext>
            </a:extLst>
          </p:cNvPr>
          <p:cNvSpPr>
            <a:spLocks noGrp="1"/>
          </p:cNvSpPr>
          <p:nvPr>
            <p:ph sz="quarter" idx="35" hasCustomPrompt="1"/>
          </p:nvPr>
        </p:nvSpPr>
        <p:spPr>
          <a:xfrm>
            <a:off x="5346701" y="36107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12" name="Plassholder for innhold 12">
            <a:extLst>
              <a:ext uri="{FF2B5EF4-FFF2-40B4-BE49-F238E27FC236}">
                <a16:creationId xmlns:a16="http://schemas.microsoft.com/office/drawing/2014/main" id="{805A751D-E81B-34A2-1BA7-1C7BDD1C6592}"/>
              </a:ext>
            </a:extLst>
          </p:cNvPr>
          <p:cNvSpPr>
            <a:spLocks noGrp="1"/>
          </p:cNvSpPr>
          <p:nvPr>
            <p:ph sz="quarter" idx="38"/>
          </p:nvPr>
        </p:nvSpPr>
        <p:spPr>
          <a:xfrm>
            <a:off x="8820662" y="1677325"/>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13" name="Plassholder for innhold 3">
            <a:extLst>
              <a:ext uri="{FF2B5EF4-FFF2-40B4-BE49-F238E27FC236}">
                <a16:creationId xmlns:a16="http://schemas.microsoft.com/office/drawing/2014/main" id="{400AAA99-2136-4D05-CDBD-F0458E03D400}"/>
              </a:ext>
            </a:extLst>
          </p:cNvPr>
          <p:cNvSpPr>
            <a:spLocks noGrp="1"/>
          </p:cNvSpPr>
          <p:nvPr>
            <p:ph sz="quarter" idx="39" hasCustomPrompt="1"/>
          </p:nvPr>
        </p:nvSpPr>
        <p:spPr>
          <a:xfrm>
            <a:off x="8820663" y="16773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14" name="Plassholder for innhold 12">
            <a:extLst>
              <a:ext uri="{FF2B5EF4-FFF2-40B4-BE49-F238E27FC236}">
                <a16:creationId xmlns:a16="http://schemas.microsoft.com/office/drawing/2014/main" id="{99DB974D-3AEE-4E23-5F85-D453B55170C9}"/>
              </a:ext>
            </a:extLst>
          </p:cNvPr>
          <p:cNvSpPr>
            <a:spLocks noGrp="1"/>
          </p:cNvSpPr>
          <p:nvPr>
            <p:ph sz="quarter" idx="40"/>
          </p:nvPr>
        </p:nvSpPr>
        <p:spPr>
          <a:xfrm>
            <a:off x="8820662" y="3610703"/>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17" name="Plassholder for innhold 12">
            <a:extLst>
              <a:ext uri="{FF2B5EF4-FFF2-40B4-BE49-F238E27FC236}">
                <a16:creationId xmlns:a16="http://schemas.microsoft.com/office/drawing/2014/main" id="{94C8D841-7090-0045-76E7-A747E9EAADB0}"/>
              </a:ext>
            </a:extLst>
          </p:cNvPr>
          <p:cNvSpPr>
            <a:spLocks noGrp="1"/>
          </p:cNvSpPr>
          <p:nvPr>
            <p:ph sz="quarter" idx="41"/>
          </p:nvPr>
        </p:nvSpPr>
        <p:spPr>
          <a:xfrm>
            <a:off x="8820662" y="5544104"/>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18" name="Plassholder for innhold 3">
            <a:extLst>
              <a:ext uri="{FF2B5EF4-FFF2-40B4-BE49-F238E27FC236}">
                <a16:creationId xmlns:a16="http://schemas.microsoft.com/office/drawing/2014/main" id="{ADC7AB7A-ED31-617F-1AA9-E4B054356DE6}"/>
              </a:ext>
            </a:extLst>
          </p:cNvPr>
          <p:cNvSpPr>
            <a:spLocks noGrp="1"/>
          </p:cNvSpPr>
          <p:nvPr>
            <p:ph sz="quarter" idx="42" hasCustomPrompt="1"/>
          </p:nvPr>
        </p:nvSpPr>
        <p:spPr>
          <a:xfrm>
            <a:off x="8820663" y="5544126"/>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22" name="Plassholder for innhold 3">
            <a:extLst>
              <a:ext uri="{FF2B5EF4-FFF2-40B4-BE49-F238E27FC236}">
                <a16:creationId xmlns:a16="http://schemas.microsoft.com/office/drawing/2014/main" id="{A375F9D8-6F31-8424-7C14-02D6191DAD9E}"/>
              </a:ext>
            </a:extLst>
          </p:cNvPr>
          <p:cNvSpPr>
            <a:spLocks noGrp="1"/>
          </p:cNvSpPr>
          <p:nvPr>
            <p:ph sz="quarter" idx="43" hasCustomPrompt="1"/>
          </p:nvPr>
        </p:nvSpPr>
        <p:spPr>
          <a:xfrm>
            <a:off x="8820663" y="36107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26" name="Rektangel 25">
            <a:extLst>
              <a:ext uri="{FF2B5EF4-FFF2-40B4-BE49-F238E27FC236}">
                <a16:creationId xmlns:a16="http://schemas.microsoft.com/office/drawing/2014/main" id="{9379E9E4-169B-7536-60C1-0ED02D4D97E6}"/>
              </a:ext>
            </a:extLst>
          </p:cNvPr>
          <p:cNvSpPr/>
          <p:nvPr userDrawn="1"/>
        </p:nvSpPr>
        <p:spPr>
          <a:xfrm>
            <a:off x="-2887218" y="1"/>
            <a:ext cx="2793652" cy="386545"/>
          </a:xfrm>
          <a:prstGeom prst="rect">
            <a:avLst/>
          </a:prstGeom>
          <a:solidFill>
            <a:srgbClr val="3C0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a:solidFill>
                  <a:schemeClr val="bg1"/>
                </a:solidFill>
              </a:rPr>
              <a:t>Eksempel ved bruk av tabeller</a:t>
            </a:r>
          </a:p>
        </p:txBody>
      </p:sp>
      <p:pic>
        <p:nvPicPr>
          <p:cNvPr id="28" name="Bilde 27">
            <a:extLst>
              <a:ext uri="{FF2B5EF4-FFF2-40B4-BE49-F238E27FC236}">
                <a16:creationId xmlns:a16="http://schemas.microsoft.com/office/drawing/2014/main" id="{930C318F-2225-CE07-2C74-1DF57F89DA73}"/>
              </a:ext>
            </a:extLst>
          </p:cNvPr>
          <p:cNvPicPr>
            <a:picLocks noChangeAspect="1"/>
          </p:cNvPicPr>
          <p:nvPr userDrawn="1"/>
        </p:nvPicPr>
        <p:blipFill rotWithShape="1">
          <a:blip r:embed="rId5"/>
          <a:srcRect l="33333"/>
          <a:stretch/>
        </p:blipFill>
        <p:spPr>
          <a:xfrm>
            <a:off x="-1350042" y="3086929"/>
            <a:ext cx="1256475" cy="822712"/>
          </a:xfrm>
          <a:prstGeom prst="rect">
            <a:avLst/>
          </a:prstGeom>
        </p:spPr>
      </p:pic>
      <p:cxnSp>
        <p:nvCxnSpPr>
          <p:cNvPr id="36" name="Rett pilkobling 35">
            <a:extLst>
              <a:ext uri="{FF2B5EF4-FFF2-40B4-BE49-F238E27FC236}">
                <a16:creationId xmlns:a16="http://schemas.microsoft.com/office/drawing/2014/main" id="{AC190ABF-C271-6139-A438-B8B9DC005AFE}"/>
              </a:ext>
            </a:extLst>
          </p:cNvPr>
          <p:cNvCxnSpPr>
            <a:cxnSpLocks/>
          </p:cNvCxnSpPr>
          <p:nvPr userDrawn="1"/>
        </p:nvCxnSpPr>
        <p:spPr>
          <a:xfrm flipV="1">
            <a:off x="-868838" y="3610073"/>
            <a:ext cx="149826" cy="38983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39" name="Bilde 38">
            <a:extLst>
              <a:ext uri="{FF2B5EF4-FFF2-40B4-BE49-F238E27FC236}">
                <a16:creationId xmlns:a16="http://schemas.microsoft.com/office/drawing/2014/main" id="{F0176E1B-616C-86D3-070A-8EA16B7864C4}"/>
              </a:ext>
            </a:extLst>
          </p:cNvPr>
          <p:cNvPicPr>
            <a:picLocks noChangeAspect="1"/>
          </p:cNvPicPr>
          <p:nvPr userDrawn="1"/>
        </p:nvPicPr>
        <p:blipFill>
          <a:blip r:embed="rId6"/>
          <a:stretch>
            <a:fillRect/>
          </a:stretch>
        </p:blipFill>
        <p:spPr>
          <a:xfrm>
            <a:off x="-1978278" y="433114"/>
            <a:ext cx="1884710" cy="1432980"/>
          </a:xfrm>
          <a:prstGeom prst="rect">
            <a:avLst/>
          </a:prstGeom>
        </p:spPr>
      </p:pic>
      <p:sp>
        <p:nvSpPr>
          <p:cNvPr id="40" name="Rektangel 39">
            <a:extLst>
              <a:ext uri="{FF2B5EF4-FFF2-40B4-BE49-F238E27FC236}">
                <a16:creationId xmlns:a16="http://schemas.microsoft.com/office/drawing/2014/main" id="{45B376F0-9C79-6CB2-7CD5-AA6BFD5BF2AD}"/>
              </a:ext>
            </a:extLst>
          </p:cNvPr>
          <p:cNvSpPr/>
          <p:nvPr userDrawn="1"/>
        </p:nvSpPr>
        <p:spPr>
          <a:xfrm>
            <a:off x="-1108326" y="1061600"/>
            <a:ext cx="256196" cy="33612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Frihåndsform: figur 40">
            <a:extLst>
              <a:ext uri="{FF2B5EF4-FFF2-40B4-BE49-F238E27FC236}">
                <a16:creationId xmlns:a16="http://schemas.microsoft.com/office/drawing/2014/main" id="{5D2EC3A3-49E1-0CEA-8F24-0E8F37FFA995}"/>
              </a:ext>
            </a:extLst>
          </p:cNvPr>
          <p:cNvSpPr/>
          <p:nvPr userDrawn="1"/>
        </p:nvSpPr>
        <p:spPr>
          <a:xfrm>
            <a:off x="-1978278" y="433114"/>
            <a:ext cx="1884710" cy="1432980"/>
          </a:xfrm>
          <a:custGeom>
            <a:avLst/>
            <a:gdLst>
              <a:gd name="connsiteX0" fmla="*/ 991869 w 2148838"/>
              <a:gd name="connsiteY0" fmla="*/ 569912 h 1299428"/>
              <a:gd name="connsiteX1" fmla="*/ 991869 w 2148838"/>
              <a:gd name="connsiteY1" fmla="*/ 874712 h 1299428"/>
              <a:gd name="connsiteX2" fmla="*/ 1283969 w 2148838"/>
              <a:gd name="connsiteY2" fmla="*/ 874712 h 1299428"/>
              <a:gd name="connsiteX3" fmla="*/ 1283969 w 2148838"/>
              <a:gd name="connsiteY3" fmla="*/ 569912 h 1299428"/>
              <a:gd name="connsiteX4" fmla="*/ 0 w 2148838"/>
              <a:gd name="connsiteY4" fmla="*/ 0 h 1299428"/>
              <a:gd name="connsiteX5" fmla="*/ 2148838 w 2148838"/>
              <a:gd name="connsiteY5" fmla="*/ 0 h 1299428"/>
              <a:gd name="connsiteX6" fmla="*/ 2148838 w 2148838"/>
              <a:gd name="connsiteY6" fmla="*/ 1299428 h 1299428"/>
              <a:gd name="connsiteX7" fmla="*/ 0 w 2148838"/>
              <a:gd name="connsiteY7" fmla="*/ 1299428 h 12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838" h="1299428">
                <a:moveTo>
                  <a:pt x="991869" y="569912"/>
                </a:moveTo>
                <a:lnTo>
                  <a:pt x="991869" y="874712"/>
                </a:lnTo>
                <a:lnTo>
                  <a:pt x="1283969" y="874712"/>
                </a:lnTo>
                <a:lnTo>
                  <a:pt x="1283969" y="569912"/>
                </a:lnTo>
                <a:close/>
                <a:moveTo>
                  <a:pt x="0" y="0"/>
                </a:moveTo>
                <a:lnTo>
                  <a:pt x="2148838" y="0"/>
                </a:lnTo>
                <a:lnTo>
                  <a:pt x="2148838" y="1299428"/>
                </a:lnTo>
                <a:lnTo>
                  <a:pt x="0" y="1299428"/>
                </a:lnTo>
                <a:close/>
              </a:path>
            </a:pathLst>
          </a:custGeom>
          <a:solidFill>
            <a:schemeClr val="bg1">
              <a:lumMod val="8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pic>
        <p:nvPicPr>
          <p:cNvPr id="42" name="Bilde 41">
            <a:extLst>
              <a:ext uri="{FF2B5EF4-FFF2-40B4-BE49-F238E27FC236}">
                <a16:creationId xmlns:a16="http://schemas.microsoft.com/office/drawing/2014/main" id="{5D7A3FF6-66BE-2B31-5808-C1865B30DAA8}"/>
              </a:ext>
            </a:extLst>
          </p:cNvPr>
          <p:cNvPicPr>
            <a:picLocks noChangeAspect="1"/>
          </p:cNvPicPr>
          <p:nvPr userDrawn="1"/>
        </p:nvPicPr>
        <p:blipFill>
          <a:blip r:embed="rId7"/>
          <a:stretch>
            <a:fillRect/>
          </a:stretch>
        </p:blipFill>
        <p:spPr>
          <a:xfrm>
            <a:off x="-1350041" y="2027161"/>
            <a:ext cx="1180937" cy="939547"/>
          </a:xfrm>
          <a:prstGeom prst="rect">
            <a:avLst/>
          </a:prstGeom>
        </p:spPr>
      </p:pic>
      <p:sp>
        <p:nvSpPr>
          <p:cNvPr id="43" name="Rektangel 42">
            <a:extLst>
              <a:ext uri="{FF2B5EF4-FFF2-40B4-BE49-F238E27FC236}">
                <a16:creationId xmlns:a16="http://schemas.microsoft.com/office/drawing/2014/main" id="{85FFD75E-76D8-AF17-EA16-90F992D2C492}"/>
              </a:ext>
            </a:extLst>
          </p:cNvPr>
          <p:cNvSpPr/>
          <p:nvPr userDrawn="1"/>
        </p:nvSpPr>
        <p:spPr>
          <a:xfrm>
            <a:off x="-2887217" y="2015833"/>
            <a:ext cx="153717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antall kolonner/rader:</a:t>
            </a:r>
          </a:p>
        </p:txBody>
      </p:sp>
      <p:sp>
        <p:nvSpPr>
          <p:cNvPr id="44" name="Rektangel 43">
            <a:extLst>
              <a:ext uri="{FF2B5EF4-FFF2-40B4-BE49-F238E27FC236}">
                <a16:creationId xmlns:a16="http://schemas.microsoft.com/office/drawing/2014/main" id="{7405CC58-DCFB-0FB9-3539-136E34147517}"/>
              </a:ext>
            </a:extLst>
          </p:cNvPr>
          <p:cNvSpPr/>
          <p:nvPr userDrawn="1"/>
        </p:nvSpPr>
        <p:spPr>
          <a:xfrm>
            <a:off x="-2887218" y="486457"/>
            <a:ext cx="93509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Sett inn tabell:</a:t>
            </a:r>
          </a:p>
        </p:txBody>
      </p:sp>
      <p:sp>
        <p:nvSpPr>
          <p:cNvPr id="45" name="Rektangel 44">
            <a:extLst>
              <a:ext uri="{FF2B5EF4-FFF2-40B4-BE49-F238E27FC236}">
                <a16:creationId xmlns:a16="http://schemas.microsoft.com/office/drawing/2014/main" id="{92A477F0-42B5-1029-F7F1-8B4B62919AFE}"/>
              </a:ext>
            </a:extLst>
          </p:cNvPr>
          <p:cNvSpPr/>
          <p:nvPr userDrawn="1"/>
        </p:nvSpPr>
        <p:spPr>
          <a:xfrm>
            <a:off x="-2887218" y="3042337"/>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formatet</a:t>
            </a:r>
            <a:br>
              <a:rPr lang="nb-NO" sz="921">
                <a:solidFill>
                  <a:schemeClr val="tx1"/>
                </a:solidFill>
              </a:rPr>
            </a:br>
            <a:r>
              <a:rPr lang="nb-NO" sz="921">
                <a:solidFill>
                  <a:schemeClr val="tx1"/>
                </a:solidFill>
              </a:rPr>
              <a:t>«Ingen stil, ingen rutenett»:  </a:t>
            </a:r>
          </a:p>
        </p:txBody>
      </p:sp>
      <p:pic>
        <p:nvPicPr>
          <p:cNvPr id="46" name="Bilde 45">
            <a:extLst>
              <a:ext uri="{FF2B5EF4-FFF2-40B4-BE49-F238E27FC236}">
                <a16:creationId xmlns:a16="http://schemas.microsoft.com/office/drawing/2014/main" id="{FA015DE2-3178-63A2-2A7B-65E483965B9F}"/>
              </a:ext>
            </a:extLst>
          </p:cNvPr>
          <p:cNvPicPr>
            <a:picLocks noChangeAspect="1"/>
          </p:cNvPicPr>
          <p:nvPr userDrawn="1"/>
        </p:nvPicPr>
        <p:blipFill rotWithShape="1">
          <a:blip r:embed="rId8"/>
          <a:srcRect b="24510"/>
          <a:stretch/>
        </p:blipFill>
        <p:spPr>
          <a:xfrm>
            <a:off x="-4313037" y="4108449"/>
            <a:ext cx="4219469" cy="1427491"/>
          </a:xfrm>
          <a:prstGeom prst="rect">
            <a:avLst/>
          </a:prstGeom>
        </p:spPr>
      </p:pic>
      <p:sp>
        <p:nvSpPr>
          <p:cNvPr id="47" name="Frihåndsform: figur 46">
            <a:extLst>
              <a:ext uri="{FF2B5EF4-FFF2-40B4-BE49-F238E27FC236}">
                <a16:creationId xmlns:a16="http://schemas.microsoft.com/office/drawing/2014/main" id="{90ED0E4A-390E-A728-45EB-FB30B2E7983E}"/>
              </a:ext>
            </a:extLst>
          </p:cNvPr>
          <p:cNvSpPr/>
          <p:nvPr userDrawn="1"/>
        </p:nvSpPr>
        <p:spPr>
          <a:xfrm>
            <a:off x="-4313037" y="4108447"/>
            <a:ext cx="4219469" cy="1789307"/>
          </a:xfrm>
          <a:custGeom>
            <a:avLst/>
            <a:gdLst>
              <a:gd name="connsiteX0" fmla="*/ 551884 w 4810796"/>
              <a:gd name="connsiteY0" fmla="*/ 739037 h 1622545"/>
              <a:gd name="connsiteX1" fmla="*/ 551884 w 4810796"/>
              <a:gd name="connsiteY1" fmla="*/ 1023243 h 1622545"/>
              <a:gd name="connsiteX2" fmla="*/ 823733 w 4810796"/>
              <a:gd name="connsiteY2" fmla="*/ 1023243 h 1622545"/>
              <a:gd name="connsiteX3" fmla="*/ 823733 w 4810796"/>
              <a:gd name="connsiteY3" fmla="*/ 739037 h 1622545"/>
              <a:gd name="connsiteX4" fmla="*/ 4104452 w 4810796"/>
              <a:gd name="connsiteY4" fmla="*/ 102665 h 1622545"/>
              <a:gd name="connsiteX5" fmla="*/ 4104452 w 4810796"/>
              <a:gd name="connsiteY5" fmla="*/ 368335 h 1622545"/>
              <a:gd name="connsiteX6" fmla="*/ 4716112 w 4810796"/>
              <a:gd name="connsiteY6" fmla="*/ 368335 h 1622545"/>
              <a:gd name="connsiteX7" fmla="*/ 4716112 w 4810796"/>
              <a:gd name="connsiteY7" fmla="*/ 102665 h 1622545"/>
              <a:gd name="connsiteX8" fmla="*/ 0 w 4810796"/>
              <a:gd name="connsiteY8" fmla="*/ 0 h 1622545"/>
              <a:gd name="connsiteX9" fmla="*/ 4810796 w 4810796"/>
              <a:gd name="connsiteY9" fmla="*/ 0 h 1622545"/>
              <a:gd name="connsiteX10" fmla="*/ 4810796 w 4810796"/>
              <a:gd name="connsiteY10" fmla="*/ 1622545 h 1622545"/>
              <a:gd name="connsiteX11" fmla="*/ 0 w 4810796"/>
              <a:gd name="connsiteY11" fmla="*/ 1622545 h 162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796" h="1622545">
                <a:moveTo>
                  <a:pt x="551884" y="739037"/>
                </a:moveTo>
                <a:lnTo>
                  <a:pt x="551884" y="1023243"/>
                </a:lnTo>
                <a:lnTo>
                  <a:pt x="823733" y="1023243"/>
                </a:lnTo>
                <a:lnTo>
                  <a:pt x="823733" y="739037"/>
                </a:lnTo>
                <a:close/>
                <a:moveTo>
                  <a:pt x="4104452" y="102665"/>
                </a:moveTo>
                <a:lnTo>
                  <a:pt x="4104452" y="368335"/>
                </a:lnTo>
                <a:lnTo>
                  <a:pt x="4716112" y="368335"/>
                </a:lnTo>
                <a:lnTo>
                  <a:pt x="4716112" y="102665"/>
                </a:lnTo>
                <a:close/>
                <a:moveTo>
                  <a:pt x="0" y="0"/>
                </a:moveTo>
                <a:lnTo>
                  <a:pt x="4810796" y="0"/>
                </a:lnTo>
                <a:lnTo>
                  <a:pt x="4810796" y="1622545"/>
                </a:lnTo>
                <a:lnTo>
                  <a:pt x="0" y="1622545"/>
                </a:lnTo>
                <a:close/>
              </a:path>
            </a:pathLst>
          </a:custGeom>
          <a:solidFill>
            <a:srgbClr val="E6E6E6">
              <a:alpha val="6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48" name="Rektangel 47">
            <a:extLst>
              <a:ext uri="{FF2B5EF4-FFF2-40B4-BE49-F238E27FC236}">
                <a16:creationId xmlns:a16="http://schemas.microsoft.com/office/drawing/2014/main" id="{C4D97362-EA61-B121-3F2A-738F96FB0B7C}"/>
              </a:ext>
            </a:extLst>
          </p:cNvPr>
          <p:cNvSpPr/>
          <p:nvPr userDrawn="1"/>
        </p:nvSpPr>
        <p:spPr>
          <a:xfrm>
            <a:off x="-713091" y="4221664"/>
            <a:ext cx="536477" cy="2929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ktangel 48">
            <a:extLst>
              <a:ext uri="{FF2B5EF4-FFF2-40B4-BE49-F238E27FC236}">
                <a16:creationId xmlns:a16="http://schemas.microsoft.com/office/drawing/2014/main" id="{9CF1DB57-B0AF-1BF6-7CE0-7D8FAE00E72D}"/>
              </a:ext>
            </a:extLst>
          </p:cNvPr>
          <p:cNvSpPr/>
          <p:nvPr userDrawn="1"/>
        </p:nvSpPr>
        <p:spPr>
          <a:xfrm>
            <a:off x="-3828988" y="4923441"/>
            <a:ext cx="238434" cy="31341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0" name="Bilde 49">
            <a:extLst>
              <a:ext uri="{FF2B5EF4-FFF2-40B4-BE49-F238E27FC236}">
                <a16:creationId xmlns:a16="http://schemas.microsoft.com/office/drawing/2014/main" id="{291539BD-9D3D-EED2-B480-712698DFAE05}"/>
              </a:ext>
            </a:extLst>
          </p:cNvPr>
          <p:cNvPicPr>
            <a:picLocks noChangeAspect="1"/>
          </p:cNvPicPr>
          <p:nvPr userDrawn="1"/>
        </p:nvPicPr>
        <p:blipFill>
          <a:blip r:embed="rId9"/>
          <a:stretch>
            <a:fillRect/>
          </a:stretch>
        </p:blipFill>
        <p:spPr>
          <a:xfrm>
            <a:off x="-1978278" y="5562307"/>
            <a:ext cx="1884710" cy="2000543"/>
          </a:xfrm>
          <a:prstGeom prst="rect">
            <a:avLst/>
          </a:prstGeom>
        </p:spPr>
      </p:pic>
      <p:sp>
        <p:nvSpPr>
          <p:cNvPr id="51" name="Rektangel 50">
            <a:extLst>
              <a:ext uri="{FF2B5EF4-FFF2-40B4-BE49-F238E27FC236}">
                <a16:creationId xmlns:a16="http://schemas.microsoft.com/office/drawing/2014/main" id="{8EB11274-6F23-6BBF-2D5A-1E0C0252A3F6}"/>
              </a:ext>
            </a:extLst>
          </p:cNvPr>
          <p:cNvSpPr/>
          <p:nvPr userDrawn="1"/>
        </p:nvSpPr>
        <p:spPr>
          <a:xfrm>
            <a:off x="-4377610" y="3802682"/>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err="1">
                <a:solidFill>
                  <a:schemeClr val="tx1"/>
                </a:solidFill>
              </a:rPr>
              <a:t>Midtstill</a:t>
            </a:r>
            <a:r>
              <a:rPr lang="nb-NO" sz="921">
                <a:solidFill>
                  <a:schemeClr val="tx1"/>
                </a:solidFill>
              </a:rPr>
              <a:t> teksten loddrett:</a:t>
            </a:r>
          </a:p>
        </p:txBody>
      </p:sp>
    </p:spTree>
    <p:extLst>
      <p:ext uri="{BB962C8B-B14F-4D97-AF65-F5344CB8AC3E}">
        <p14:creationId xmlns:p14="http://schemas.microsoft.com/office/powerpoint/2010/main" val="1687160546"/>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4670" y="2184823"/>
            <a:ext cx="4722918" cy="4285615"/>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35812" y="2184823"/>
            <a:ext cx="4722918" cy="4285615"/>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6" name="Slide Number Placeholder 5"/>
          <p:cNvSpPr>
            <a:spLocks noGrp="1"/>
          </p:cNvSpPr>
          <p:nvPr>
            <p:ph type="sldNum" sz="quarter" idx="11"/>
          </p:nvPr>
        </p:nvSpPr>
        <p:spPr/>
        <p:txBody>
          <a:bodyPr/>
          <a:lstStyle>
            <a:lvl1pPr>
              <a:defRPr/>
            </a:lvl1pPr>
          </a:lstStyle>
          <a:p>
            <a:pPr>
              <a:defRPr/>
            </a:pPr>
            <a:fld id="{F0BA6984-9ACB-4E76-B1C8-DF4CEFE456E6}" type="slidenum">
              <a:rPr lang="en-US"/>
              <a:pPr>
                <a:defRPr/>
              </a:pPr>
              <a:t>‹#›</a:t>
            </a:fld>
            <a:endParaRPr lang="en-US"/>
          </a:p>
        </p:txBody>
      </p:sp>
      <p:sp>
        <p:nvSpPr>
          <p:cNvPr id="7" name="Date Placeholder 6"/>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12808899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 tombstone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B2FD88-81BC-C37E-FAFB-A7573AD298ED}"/>
              </a:ext>
            </a:extLst>
          </p:cNvPr>
          <p:cNvGraphicFramePr>
            <a:graphicFrameLocks noChangeAspect="1"/>
          </p:cNvGraphicFramePr>
          <p:nvPr userDrawn="1">
            <p:custDataLst>
              <p:tags r:id="rId1"/>
            </p:custDataLst>
            <p:extLst>
              <p:ext uri="{D42A27DB-BD31-4B8C-83A1-F6EECF244321}">
                <p14:modId xmlns:p14="http://schemas.microsoft.com/office/powerpoint/2010/main" val="204902721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5" name="think-cell data - do not delete" hidden="1">
                        <a:extLst>
                          <a:ext uri="{FF2B5EF4-FFF2-40B4-BE49-F238E27FC236}">
                            <a16:creationId xmlns:a16="http://schemas.microsoft.com/office/drawing/2014/main" id="{38B2FD88-81BC-C37E-FAFB-A7573AD298E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6" name="Plassholder for tekst 11">
            <a:extLst>
              <a:ext uri="{FF2B5EF4-FFF2-40B4-BE49-F238E27FC236}">
                <a16:creationId xmlns:a16="http://schemas.microsoft.com/office/drawing/2014/main" id="{2FAE1466-6F85-D5C7-94F3-8A3353B09E2F}"/>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2" name="Rektangel 1">
            <a:extLst>
              <a:ext uri="{FF2B5EF4-FFF2-40B4-BE49-F238E27FC236}">
                <a16:creationId xmlns:a16="http://schemas.microsoft.com/office/drawing/2014/main" id="{EC3460F7-17B4-ABB7-9476-9227A533AB67}"/>
              </a:ext>
            </a:extLst>
          </p:cNvPr>
          <p:cNvSpPr/>
          <p:nvPr userDrawn="1"/>
        </p:nvSpPr>
        <p:spPr>
          <a:xfrm>
            <a:off x="-2887218" y="1"/>
            <a:ext cx="2793652" cy="386545"/>
          </a:xfrm>
          <a:prstGeom prst="rect">
            <a:avLst/>
          </a:prstGeom>
          <a:solidFill>
            <a:srgbClr val="3C0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a:solidFill>
                  <a:schemeClr val="bg1"/>
                </a:solidFill>
              </a:rPr>
              <a:t>Eksempel ved bruk av tabeller</a:t>
            </a:r>
          </a:p>
        </p:txBody>
      </p:sp>
      <p:pic>
        <p:nvPicPr>
          <p:cNvPr id="33" name="Bilde 32">
            <a:extLst>
              <a:ext uri="{FF2B5EF4-FFF2-40B4-BE49-F238E27FC236}">
                <a16:creationId xmlns:a16="http://schemas.microsoft.com/office/drawing/2014/main" id="{26030160-FF99-8D5B-F5EE-F7925E8D5CD8}"/>
              </a:ext>
            </a:extLst>
          </p:cNvPr>
          <p:cNvPicPr>
            <a:picLocks noChangeAspect="1"/>
          </p:cNvPicPr>
          <p:nvPr userDrawn="1"/>
        </p:nvPicPr>
        <p:blipFill rotWithShape="1">
          <a:blip r:embed="rId5"/>
          <a:srcRect l="33333"/>
          <a:stretch/>
        </p:blipFill>
        <p:spPr>
          <a:xfrm>
            <a:off x="-1350042" y="3086929"/>
            <a:ext cx="1256475" cy="822712"/>
          </a:xfrm>
          <a:prstGeom prst="rect">
            <a:avLst/>
          </a:prstGeom>
        </p:spPr>
      </p:pic>
      <p:cxnSp>
        <p:nvCxnSpPr>
          <p:cNvPr id="34" name="Rett pilkobling 33">
            <a:extLst>
              <a:ext uri="{FF2B5EF4-FFF2-40B4-BE49-F238E27FC236}">
                <a16:creationId xmlns:a16="http://schemas.microsoft.com/office/drawing/2014/main" id="{57FD0A3E-26E0-0820-5C91-CB650B72FC89}"/>
              </a:ext>
            </a:extLst>
          </p:cNvPr>
          <p:cNvCxnSpPr>
            <a:cxnSpLocks/>
          </p:cNvCxnSpPr>
          <p:nvPr userDrawn="1"/>
        </p:nvCxnSpPr>
        <p:spPr>
          <a:xfrm flipV="1">
            <a:off x="-868838" y="3610073"/>
            <a:ext cx="149826" cy="38983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35" name="Bilde 34">
            <a:extLst>
              <a:ext uri="{FF2B5EF4-FFF2-40B4-BE49-F238E27FC236}">
                <a16:creationId xmlns:a16="http://schemas.microsoft.com/office/drawing/2014/main" id="{A31C80DA-D3EF-6DEE-08DF-53D386905176}"/>
              </a:ext>
            </a:extLst>
          </p:cNvPr>
          <p:cNvPicPr>
            <a:picLocks noChangeAspect="1"/>
          </p:cNvPicPr>
          <p:nvPr userDrawn="1"/>
        </p:nvPicPr>
        <p:blipFill>
          <a:blip r:embed="rId6"/>
          <a:stretch>
            <a:fillRect/>
          </a:stretch>
        </p:blipFill>
        <p:spPr>
          <a:xfrm>
            <a:off x="-1978278" y="433114"/>
            <a:ext cx="1884710" cy="1432980"/>
          </a:xfrm>
          <a:prstGeom prst="rect">
            <a:avLst/>
          </a:prstGeom>
        </p:spPr>
      </p:pic>
      <p:sp>
        <p:nvSpPr>
          <p:cNvPr id="51" name="Rektangel 50">
            <a:extLst>
              <a:ext uri="{FF2B5EF4-FFF2-40B4-BE49-F238E27FC236}">
                <a16:creationId xmlns:a16="http://schemas.microsoft.com/office/drawing/2014/main" id="{A61F21C8-1E2E-DC10-B772-B0B6A5416593}"/>
              </a:ext>
            </a:extLst>
          </p:cNvPr>
          <p:cNvSpPr/>
          <p:nvPr userDrawn="1"/>
        </p:nvSpPr>
        <p:spPr>
          <a:xfrm>
            <a:off x="-1108326" y="1061600"/>
            <a:ext cx="256196" cy="33612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Frihåndsform: figur 51">
            <a:extLst>
              <a:ext uri="{FF2B5EF4-FFF2-40B4-BE49-F238E27FC236}">
                <a16:creationId xmlns:a16="http://schemas.microsoft.com/office/drawing/2014/main" id="{87E94C5E-9751-35D3-CBC7-C977232D3BE9}"/>
              </a:ext>
            </a:extLst>
          </p:cNvPr>
          <p:cNvSpPr/>
          <p:nvPr userDrawn="1"/>
        </p:nvSpPr>
        <p:spPr>
          <a:xfrm>
            <a:off x="-1978278" y="433114"/>
            <a:ext cx="1884710" cy="1432980"/>
          </a:xfrm>
          <a:custGeom>
            <a:avLst/>
            <a:gdLst>
              <a:gd name="connsiteX0" fmla="*/ 991869 w 2148838"/>
              <a:gd name="connsiteY0" fmla="*/ 569912 h 1299428"/>
              <a:gd name="connsiteX1" fmla="*/ 991869 w 2148838"/>
              <a:gd name="connsiteY1" fmla="*/ 874712 h 1299428"/>
              <a:gd name="connsiteX2" fmla="*/ 1283969 w 2148838"/>
              <a:gd name="connsiteY2" fmla="*/ 874712 h 1299428"/>
              <a:gd name="connsiteX3" fmla="*/ 1283969 w 2148838"/>
              <a:gd name="connsiteY3" fmla="*/ 569912 h 1299428"/>
              <a:gd name="connsiteX4" fmla="*/ 0 w 2148838"/>
              <a:gd name="connsiteY4" fmla="*/ 0 h 1299428"/>
              <a:gd name="connsiteX5" fmla="*/ 2148838 w 2148838"/>
              <a:gd name="connsiteY5" fmla="*/ 0 h 1299428"/>
              <a:gd name="connsiteX6" fmla="*/ 2148838 w 2148838"/>
              <a:gd name="connsiteY6" fmla="*/ 1299428 h 1299428"/>
              <a:gd name="connsiteX7" fmla="*/ 0 w 2148838"/>
              <a:gd name="connsiteY7" fmla="*/ 1299428 h 12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838" h="1299428">
                <a:moveTo>
                  <a:pt x="991869" y="569912"/>
                </a:moveTo>
                <a:lnTo>
                  <a:pt x="991869" y="874712"/>
                </a:lnTo>
                <a:lnTo>
                  <a:pt x="1283969" y="874712"/>
                </a:lnTo>
                <a:lnTo>
                  <a:pt x="1283969" y="569912"/>
                </a:lnTo>
                <a:close/>
                <a:moveTo>
                  <a:pt x="0" y="0"/>
                </a:moveTo>
                <a:lnTo>
                  <a:pt x="2148838" y="0"/>
                </a:lnTo>
                <a:lnTo>
                  <a:pt x="2148838" y="1299428"/>
                </a:lnTo>
                <a:lnTo>
                  <a:pt x="0" y="1299428"/>
                </a:lnTo>
                <a:close/>
              </a:path>
            </a:pathLst>
          </a:custGeom>
          <a:solidFill>
            <a:schemeClr val="bg1">
              <a:lumMod val="8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pic>
        <p:nvPicPr>
          <p:cNvPr id="53" name="Bilde 52">
            <a:extLst>
              <a:ext uri="{FF2B5EF4-FFF2-40B4-BE49-F238E27FC236}">
                <a16:creationId xmlns:a16="http://schemas.microsoft.com/office/drawing/2014/main" id="{EE1176D6-7DFB-45F3-BE71-26E6926A11C8}"/>
              </a:ext>
            </a:extLst>
          </p:cNvPr>
          <p:cNvPicPr>
            <a:picLocks noChangeAspect="1"/>
          </p:cNvPicPr>
          <p:nvPr userDrawn="1"/>
        </p:nvPicPr>
        <p:blipFill>
          <a:blip r:embed="rId7"/>
          <a:stretch>
            <a:fillRect/>
          </a:stretch>
        </p:blipFill>
        <p:spPr>
          <a:xfrm>
            <a:off x="-1350041" y="2027161"/>
            <a:ext cx="1180937" cy="939547"/>
          </a:xfrm>
          <a:prstGeom prst="rect">
            <a:avLst/>
          </a:prstGeom>
        </p:spPr>
      </p:pic>
      <p:sp>
        <p:nvSpPr>
          <p:cNvPr id="54" name="Rektangel 53">
            <a:extLst>
              <a:ext uri="{FF2B5EF4-FFF2-40B4-BE49-F238E27FC236}">
                <a16:creationId xmlns:a16="http://schemas.microsoft.com/office/drawing/2014/main" id="{FA0A48E8-7544-69B5-0FBE-FE2492D9C7EE}"/>
              </a:ext>
            </a:extLst>
          </p:cNvPr>
          <p:cNvSpPr/>
          <p:nvPr userDrawn="1"/>
        </p:nvSpPr>
        <p:spPr>
          <a:xfrm>
            <a:off x="-2887217" y="2015833"/>
            <a:ext cx="153717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antall kolonner/rader:</a:t>
            </a:r>
          </a:p>
        </p:txBody>
      </p:sp>
      <p:sp>
        <p:nvSpPr>
          <p:cNvPr id="55" name="Rektangel 54">
            <a:extLst>
              <a:ext uri="{FF2B5EF4-FFF2-40B4-BE49-F238E27FC236}">
                <a16:creationId xmlns:a16="http://schemas.microsoft.com/office/drawing/2014/main" id="{B60B09DF-9FBE-BB29-6DD7-43CF364FD8F8}"/>
              </a:ext>
            </a:extLst>
          </p:cNvPr>
          <p:cNvSpPr/>
          <p:nvPr userDrawn="1"/>
        </p:nvSpPr>
        <p:spPr>
          <a:xfrm>
            <a:off x="-2887218" y="486457"/>
            <a:ext cx="93509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Sett inn tabell:</a:t>
            </a:r>
          </a:p>
        </p:txBody>
      </p:sp>
      <p:sp>
        <p:nvSpPr>
          <p:cNvPr id="56" name="Rektangel 55">
            <a:extLst>
              <a:ext uri="{FF2B5EF4-FFF2-40B4-BE49-F238E27FC236}">
                <a16:creationId xmlns:a16="http://schemas.microsoft.com/office/drawing/2014/main" id="{B5D4A5BE-159A-DC0F-62D4-AE5F0957D61C}"/>
              </a:ext>
            </a:extLst>
          </p:cNvPr>
          <p:cNvSpPr/>
          <p:nvPr userDrawn="1"/>
        </p:nvSpPr>
        <p:spPr>
          <a:xfrm>
            <a:off x="-2887218" y="3042337"/>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formatet</a:t>
            </a:r>
            <a:br>
              <a:rPr lang="nb-NO" sz="921">
                <a:solidFill>
                  <a:schemeClr val="tx1"/>
                </a:solidFill>
              </a:rPr>
            </a:br>
            <a:r>
              <a:rPr lang="nb-NO" sz="921">
                <a:solidFill>
                  <a:schemeClr val="tx1"/>
                </a:solidFill>
              </a:rPr>
              <a:t>«Ingen stil, ingen rutenett»:  </a:t>
            </a:r>
          </a:p>
        </p:txBody>
      </p:sp>
      <p:pic>
        <p:nvPicPr>
          <p:cNvPr id="57" name="Bilde 56">
            <a:extLst>
              <a:ext uri="{FF2B5EF4-FFF2-40B4-BE49-F238E27FC236}">
                <a16:creationId xmlns:a16="http://schemas.microsoft.com/office/drawing/2014/main" id="{42BF768C-D74F-8CB1-D4AB-51C08CF5D446}"/>
              </a:ext>
            </a:extLst>
          </p:cNvPr>
          <p:cNvPicPr>
            <a:picLocks noChangeAspect="1"/>
          </p:cNvPicPr>
          <p:nvPr userDrawn="1"/>
        </p:nvPicPr>
        <p:blipFill rotWithShape="1">
          <a:blip r:embed="rId8"/>
          <a:srcRect b="24510"/>
          <a:stretch/>
        </p:blipFill>
        <p:spPr>
          <a:xfrm>
            <a:off x="-4313037" y="4108449"/>
            <a:ext cx="4219469" cy="1427491"/>
          </a:xfrm>
          <a:prstGeom prst="rect">
            <a:avLst/>
          </a:prstGeom>
        </p:spPr>
      </p:pic>
      <p:sp>
        <p:nvSpPr>
          <p:cNvPr id="58" name="Frihåndsform: figur 57">
            <a:extLst>
              <a:ext uri="{FF2B5EF4-FFF2-40B4-BE49-F238E27FC236}">
                <a16:creationId xmlns:a16="http://schemas.microsoft.com/office/drawing/2014/main" id="{F8CB943E-4072-B5A7-8AE2-14B034E2A60C}"/>
              </a:ext>
            </a:extLst>
          </p:cNvPr>
          <p:cNvSpPr/>
          <p:nvPr userDrawn="1"/>
        </p:nvSpPr>
        <p:spPr>
          <a:xfrm>
            <a:off x="-4313037" y="4108447"/>
            <a:ext cx="4219469" cy="1789307"/>
          </a:xfrm>
          <a:custGeom>
            <a:avLst/>
            <a:gdLst>
              <a:gd name="connsiteX0" fmla="*/ 551884 w 4810796"/>
              <a:gd name="connsiteY0" fmla="*/ 739037 h 1622545"/>
              <a:gd name="connsiteX1" fmla="*/ 551884 w 4810796"/>
              <a:gd name="connsiteY1" fmla="*/ 1023243 h 1622545"/>
              <a:gd name="connsiteX2" fmla="*/ 823733 w 4810796"/>
              <a:gd name="connsiteY2" fmla="*/ 1023243 h 1622545"/>
              <a:gd name="connsiteX3" fmla="*/ 823733 w 4810796"/>
              <a:gd name="connsiteY3" fmla="*/ 739037 h 1622545"/>
              <a:gd name="connsiteX4" fmla="*/ 4104452 w 4810796"/>
              <a:gd name="connsiteY4" fmla="*/ 102665 h 1622545"/>
              <a:gd name="connsiteX5" fmla="*/ 4104452 w 4810796"/>
              <a:gd name="connsiteY5" fmla="*/ 368335 h 1622545"/>
              <a:gd name="connsiteX6" fmla="*/ 4716112 w 4810796"/>
              <a:gd name="connsiteY6" fmla="*/ 368335 h 1622545"/>
              <a:gd name="connsiteX7" fmla="*/ 4716112 w 4810796"/>
              <a:gd name="connsiteY7" fmla="*/ 102665 h 1622545"/>
              <a:gd name="connsiteX8" fmla="*/ 0 w 4810796"/>
              <a:gd name="connsiteY8" fmla="*/ 0 h 1622545"/>
              <a:gd name="connsiteX9" fmla="*/ 4810796 w 4810796"/>
              <a:gd name="connsiteY9" fmla="*/ 0 h 1622545"/>
              <a:gd name="connsiteX10" fmla="*/ 4810796 w 4810796"/>
              <a:gd name="connsiteY10" fmla="*/ 1622545 h 1622545"/>
              <a:gd name="connsiteX11" fmla="*/ 0 w 4810796"/>
              <a:gd name="connsiteY11" fmla="*/ 1622545 h 162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796" h="1622545">
                <a:moveTo>
                  <a:pt x="551884" y="739037"/>
                </a:moveTo>
                <a:lnTo>
                  <a:pt x="551884" y="1023243"/>
                </a:lnTo>
                <a:lnTo>
                  <a:pt x="823733" y="1023243"/>
                </a:lnTo>
                <a:lnTo>
                  <a:pt x="823733" y="739037"/>
                </a:lnTo>
                <a:close/>
                <a:moveTo>
                  <a:pt x="4104452" y="102665"/>
                </a:moveTo>
                <a:lnTo>
                  <a:pt x="4104452" y="368335"/>
                </a:lnTo>
                <a:lnTo>
                  <a:pt x="4716112" y="368335"/>
                </a:lnTo>
                <a:lnTo>
                  <a:pt x="4716112" y="102665"/>
                </a:lnTo>
                <a:close/>
                <a:moveTo>
                  <a:pt x="0" y="0"/>
                </a:moveTo>
                <a:lnTo>
                  <a:pt x="4810796" y="0"/>
                </a:lnTo>
                <a:lnTo>
                  <a:pt x="4810796" y="1622545"/>
                </a:lnTo>
                <a:lnTo>
                  <a:pt x="0" y="1622545"/>
                </a:lnTo>
                <a:close/>
              </a:path>
            </a:pathLst>
          </a:custGeom>
          <a:solidFill>
            <a:srgbClr val="E6E6E6">
              <a:alpha val="6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59" name="Rektangel 58">
            <a:extLst>
              <a:ext uri="{FF2B5EF4-FFF2-40B4-BE49-F238E27FC236}">
                <a16:creationId xmlns:a16="http://schemas.microsoft.com/office/drawing/2014/main" id="{89323FA7-F32A-6DD5-416D-B547FA3334E2}"/>
              </a:ext>
            </a:extLst>
          </p:cNvPr>
          <p:cNvSpPr/>
          <p:nvPr userDrawn="1"/>
        </p:nvSpPr>
        <p:spPr>
          <a:xfrm>
            <a:off x="-713091" y="4221664"/>
            <a:ext cx="536477" cy="2929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 name="Rektangel 59">
            <a:extLst>
              <a:ext uri="{FF2B5EF4-FFF2-40B4-BE49-F238E27FC236}">
                <a16:creationId xmlns:a16="http://schemas.microsoft.com/office/drawing/2014/main" id="{1726E6C4-4587-289F-D088-D6948EB50280}"/>
              </a:ext>
            </a:extLst>
          </p:cNvPr>
          <p:cNvSpPr/>
          <p:nvPr userDrawn="1"/>
        </p:nvSpPr>
        <p:spPr>
          <a:xfrm>
            <a:off x="-3828988" y="4923441"/>
            <a:ext cx="238434" cy="31341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61" name="Bilde 60">
            <a:extLst>
              <a:ext uri="{FF2B5EF4-FFF2-40B4-BE49-F238E27FC236}">
                <a16:creationId xmlns:a16="http://schemas.microsoft.com/office/drawing/2014/main" id="{75F1553D-468E-AB0E-1764-34BA185F0284}"/>
              </a:ext>
            </a:extLst>
          </p:cNvPr>
          <p:cNvPicPr>
            <a:picLocks noChangeAspect="1"/>
          </p:cNvPicPr>
          <p:nvPr userDrawn="1"/>
        </p:nvPicPr>
        <p:blipFill>
          <a:blip r:embed="rId9"/>
          <a:stretch>
            <a:fillRect/>
          </a:stretch>
        </p:blipFill>
        <p:spPr>
          <a:xfrm>
            <a:off x="-1978278" y="5562307"/>
            <a:ext cx="1884710" cy="2000543"/>
          </a:xfrm>
          <a:prstGeom prst="rect">
            <a:avLst/>
          </a:prstGeom>
        </p:spPr>
      </p:pic>
      <p:sp>
        <p:nvSpPr>
          <p:cNvPr id="62" name="Rektangel 61">
            <a:extLst>
              <a:ext uri="{FF2B5EF4-FFF2-40B4-BE49-F238E27FC236}">
                <a16:creationId xmlns:a16="http://schemas.microsoft.com/office/drawing/2014/main" id="{30596237-7852-6ECC-853A-4E173A4E5F8C}"/>
              </a:ext>
            </a:extLst>
          </p:cNvPr>
          <p:cNvSpPr/>
          <p:nvPr userDrawn="1"/>
        </p:nvSpPr>
        <p:spPr>
          <a:xfrm>
            <a:off x="-4377610" y="3802682"/>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err="1">
                <a:solidFill>
                  <a:schemeClr val="tx1"/>
                </a:solidFill>
              </a:rPr>
              <a:t>Midtstill</a:t>
            </a:r>
            <a:r>
              <a:rPr lang="nb-NO" sz="921">
                <a:solidFill>
                  <a:schemeClr val="tx1"/>
                </a:solidFill>
              </a:rPr>
              <a:t> teksten loddrett:</a:t>
            </a:r>
          </a:p>
        </p:txBody>
      </p:sp>
      <p:sp>
        <p:nvSpPr>
          <p:cNvPr id="5" name="Plassholder for tekst 7">
            <a:extLst>
              <a:ext uri="{FF2B5EF4-FFF2-40B4-BE49-F238E27FC236}">
                <a16:creationId xmlns:a16="http://schemas.microsoft.com/office/drawing/2014/main" id="{C1D7B918-0AF2-DAC7-D125-8958389B78B5}"/>
              </a:ext>
            </a:extLst>
          </p:cNvPr>
          <p:cNvSpPr>
            <a:spLocks noGrp="1"/>
          </p:cNvSpPr>
          <p:nvPr>
            <p:ph type="body" sz="quarter" idx="11"/>
          </p:nvPr>
        </p:nvSpPr>
        <p:spPr>
          <a:xfrm>
            <a:off x="231136" y="248595"/>
            <a:ext cx="10231132" cy="952358"/>
          </a:xfrm>
          <a:prstGeom prst="rect">
            <a:avLst/>
          </a:prstGeom>
        </p:spPr>
        <p:txBody>
          <a:bodyPr lIns="36000" tIns="36000" rIns="36000" bIns="3600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7" name="Plassholder for innhold 12">
            <a:extLst>
              <a:ext uri="{FF2B5EF4-FFF2-40B4-BE49-F238E27FC236}">
                <a16:creationId xmlns:a16="http://schemas.microsoft.com/office/drawing/2014/main" id="{E30C3AA4-3AA8-1383-60A0-47E2B1B94543}"/>
              </a:ext>
            </a:extLst>
          </p:cNvPr>
          <p:cNvSpPr>
            <a:spLocks noGrp="1"/>
          </p:cNvSpPr>
          <p:nvPr>
            <p:ph sz="quarter" idx="12"/>
          </p:nvPr>
        </p:nvSpPr>
        <p:spPr>
          <a:xfrm>
            <a:off x="5346700" y="1677325"/>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63" name="Plassholder for innhold 3">
            <a:extLst>
              <a:ext uri="{FF2B5EF4-FFF2-40B4-BE49-F238E27FC236}">
                <a16:creationId xmlns:a16="http://schemas.microsoft.com/office/drawing/2014/main" id="{5108B501-AE79-433D-F28B-2001A47E2784}"/>
              </a:ext>
            </a:extLst>
          </p:cNvPr>
          <p:cNvSpPr>
            <a:spLocks noGrp="1"/>
          </p:cNvSpPr>
          <p:nvPr>
            <p:ph sz="quarter" idx="16" hasCustomPrompt="1"/>
          </p:nvPr>
        </p:nvSpPr>
        <p:spPr>
          <a:xfrm>
            <a:off x="5346701" y="16773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64" name="Plassholder for bilde 13">
            <a:extLst>
              <a:ext uri="{FF2B5EF4-FFF2-40B4-BE49-F238E27FC236}">
                <a16:creationId xmlns:a16="http://schemas.microsoft.com/office/drawing/2014/main" id="{07C48E46-D8F4-10CF-D6BD-99EA454380A7}"/>
              </a:ext>
            </a:extLst>
          </p:cNvPr>
          <p:cNvSpPr>
            <a:spLocks noGrp="1"/>
          </p:cNvSpPr>
          <p:nvPr>
            <p:ph type="pic" sz="quarter" idx="24"/>
          </p:nvPr>
        </p:nvSpPr>
        <p:spPr>
          <a:xfrm>
            <a:off x="3706488" y="5544126"/>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65" name="Plassholder for bilde 13">
            <a:extLst>
              <a:ext uri="{FF2B5EF4-FFF2-40B4-BE49-F238E27FC236}">
                <a16:creationId xmlns:a16="http://schemas.microsoft.com/office/drawing/2014/main" id="{1C3623FF-7C28-A7F4-160B-C6E72EF304CA}"/>
              </a:ext>
            </a:extLst>
          </p:cNvPr>
          <p:cNvSpPr>
            <a:spLocks noGrp="1"/>
          </p:cNvSpPr>
          <p:nvPr>
            <p:ph type="pic" sz="quarter" idx="19"/>
          </p:nvPr>
        </p:nvSpPr>
        <p:spPr>
          <a:xfrm>
            <a:off x="3706488" y="16773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66" name="Plassholder for tekst 8">
            <a:extLst>
              <a:ext uri="{FF2B5EF4-FFF2-40B4-BE49-F238E27FC236}">
                <a16:creationId xmlns:a16="http://schemas.microsoft.com/office/drawing/2014/main" id="{7633C338-7409-86B6-5CD8-A1444EA236E4}"/>
              </a:ext>
            </a:extLst>
          </p:cNvPr>
          <p:cNvSpPr>
            <a:spLocks noGrp="1"/>
          </p:cNvSpPr>
          <p:nvPr>
            <p:ph type="body" sz="quarter" idx="17"/>
          </p:nvPr>
        </p:nvSpPr>
        <p:spPr>
          <a:xfrm>
            <a:off x="3706488" y="1441110"/>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7" name="Plassholder for tekst 8">
            <a:extLst>
              <a:ext uri="{FF2B5EF4-FFF2-40B4-BE49-F238E27FC236}">
                <a16:creationId xmlns:a16="http://schemas.microsoft.com/office/drawing/2014/main" id="{016A42F7-E979-FFCE-2582-B34578C5E8A6}"/>
              </a:ext>
            </a:extLst>
          </p:cNvPr>
          <p:cNvSpPr>
            <a:spLocks noGrp="1"/>
          </p:cNvSpPr>
          <p:nvPr>
            <p:ph type="body" sz="quarter" idx="22"/>
          </p:nvPr>
        </p:nvSpPr>
        <p:spPr>
          <a:xfrm>
            <a:off x="3706488" y="3373496"/>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8" name="Plassholder for tekst 8">
            <a:extLst>
              <a:ext uri="{FF2B5EF4-FFF2-40B4-BE49-F238E27FC236}">
                <a16:creationId xmlns:a16="http://schemas.microsoft.com/office/drawing/2014/main" id="{E0E86A9C-8C10-A655-595B-9775D517E715}"/>
              </a:ext>
            </a:extLst>
          </p:cNvPr>
          <p:cNvSpPr>
            <a:spLocks noGrp="1"/>
          </p:cNvSpPr>
          <p:nvPr>
            <p:ph type="body" sz="quarter" idx="23"/>
          </p:nvPr>
        </p:nvSpPr>
        <p:spPr>
          <a:xfrm>
            <a:off x="3706488" y="5305882"/>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9" name="Plassholder for bilde 13">
            <a:extLst>
              <a:ext uri="{FF2B5EF4-FFF2-40B4-BE49-F238E27FC236}">
                <a16:creationId xmlns:a16="http://schemas.microsoft.com/office/drawing/2014/main" id="{46A356E5-2464-C493-6EA6-0273787CCD3D}"/>
              </a:ext>
            </a:extLst>
          </p:cNvPr>
          <p:cNvSpPr>
            <a:spLocks noGrp="1"/>
          </p:cNvSpPr>
          <p:nvPr>
            <p:ph type="pic" sz="quarter" idx="25"/>
          </p:nvPr>
        </p:nvSpPr>
        <p:spPr>
          <a:xfrm>
            <a:off x="3706488" y="36107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70" name="Plassholder for bilde 13">
            <a:extLst>
              <a:ext uri="{FF2B5EF4-FFF2-40B4-BE49-F238E27FC236}">
                <a16:creationId xmlns:a16="http://schemas.microsoft.com/office/drawing/2014/main" id="{12A09AF4-2C90-4B02-2BA0-390C6B3D03AA}"/>
              </a:ext>
            </a:extLst>
          </p:cNvPr>
          <p:cNvSpPr>
            <a:spLocks noGrp="1"/>
          </p:cNvSpPr>
          <p:nvPr>
            <p:ph type="pic" sz="quarter" idx="28"/>
          </p:nvPr>
        </p:nvSpPr>
        <p:spPr>
          <a:xfrm>
            <a:off x="7177666" y="5544126"/>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71" name="Plassholder for bilde 13">
            <a:extLst>
              <a:ext uri="{FF2B5EF4-FFF2-40B4-BE49-F238E27FC236}">
                <a16:creationId xmlns:a16="http://schemas.microsoft.com/office/drawing/2014/main" id="{C6257B7E-EE33-51EB-6CD8-BA163B6761FD}"/>
              </a:ext>
            </a:extLst>
          </p:cNvPr>
          <p:cNvSpPr>
            <a:spLocks noGrp="1"/>
          </p:cNvSpPr>
          <p:nvPr>
            <p:ph type="pic" sz="quarter" idx="29"/>
          </p:nvPr>
        </p:nvSpPr>
        <p:spPr>
          <a:xfrm>
            <a:off x="7177666" y="16773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72" name="Plassholder for tekst 8">
            <a:extLst>
              <a:ext uri="{FF2B5EF4-FFF2-40B4-BE49-F238E27FC236}">
                <a16:creationId xmlns:a16="http://schemas.microsoft.com/office/drawing/2014/main" id="{5D678864-A88B-3D44-7102-E84831AD0DC7}"/>
              </a:ext>
            </a:extLst>
          </p:cNvPr>
          <p:cNvSpPr>
            <a:spLocks noGrp="1"/>
          </p:cNvSpPr>
          <p:nvPr>
            <p:ph type="body" sz="quarter" idx="30"/>
          </p:nvPr>
        </p:nvSpPr>
        <p:spPr>
          <a:xfrm>
            <a:off x="7178467" y="1441110"/>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73" name="Plassholder for tekst 8">
            <a:extLst>
              <a:ext uri="{FF2B5EF4-FFF2-40B4-BE49-F238E27FC236}">
                <a16:creationId xmlns:a16="http://schemas.microsoft.com/office/drawing/2014/main" id="{AEEB0CFB-444C-48C4-9F2B-8408EF698958}"/>
              </a:ext>
            </a:extLst>
          </p:cNvPr>
          <p:cNvSpPr>
            <a:spLocks noGrp="1"/>
          </p:cNvSpPr>
          <p:nvPr>
            <p:ph type="body" sz="quarter" idx="31"/>
          </p:nvPr>
        </p:nvSpPr>
        <p:spPr>
          <a:xfrm>
            <a:off x="7177667" y="3373496"/>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74" name="Plassholder for tekst 8">
            <a:extLst>
              <a:ext uri="{FF2B5EF4-FFF2-40B4-BE49-F238E27FC236}">
                <a16:creationId xmlns:a16="http://schemas.microsoft.com/office/drawing/2014/main" id="{3F67F267-5E4C-7DB9-D429-0CB1BF31F19A}"/>
              </a:ext>
            </a:extLst>
          </p:cNvPr>
          <p:cNvSpPr>
            <a:spLocks noGrp="1"/>
          </p:cNvSpPr>
          <p:nvPr>
            <p:ph type="body" sz="quarter" idx="32"/>
          </p:nvPr>
        </p:nvSpPr>
        <p:spPr>
          <a:xfrm>
            <a:off x="7177667" y="5305882"/>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75" name="Plassholder for bilde 13">
            <a:extLst>
              <a:ext uri="{FF2B5EF4-FFF2-40B4-BE49-F238E27FC236}">
                <a16:creationId xmlns:a16="http://schemas.microsoft.com/office/drawing/2014/main" id="{E33045CE-5A55-D940-450A-7C9F26C1A1F2}"/>
              </a:ext>
            </a:extLst>
          </p:cNvPr>
          <p:cNvSpPr>
            <a:spLocks noGrp="1"/>
          </p:cNvSpPr>
          <p:nvPr>
            <p:ph type="pic" sz="quarter" idx="33"/>
          </p:nvPr>
        </p:nvSpPr>
        <p:spPr>
          <a:xfrm>
            <a:off x="7177666" y="36107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76" name="Plassholder for innhold 12">
            <a:extLst>
              <a:ext uri="{FF2B5EF4-FFF2-40B4-BE49-F238E27FC236}">
                <a16:creationId xmlns:a16="http://schemas.microsoft.com/office/drawing/2014/main" id="{68CF5906-1EB7-89C2-B5D1-420B46C04120}"/>
              </a:ext>
            </a:extLst>
          </p:cNvPr>
          <p:cNvSpPr>
            <a:spLocks noGrp="1"/>
          </p:cNvSpPr>
          <p:nvPr>
            <p:ph sz="quarter" idx="34"/>
          </p:nvPr>
        </p:nvSpPr>
        <p:spPr>
          <a:xfrm>
            <a:off x="5346700" y="3610703"/>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77" name="Plassholder for innhold 12">
            <a:extLst>
              <a:ext uri="{FF2B5EF4-FFF2-40B4-BE49-F238E27FC236}">
                <a16:creationId xmlns:a16="http://schemas.microsoft.com/office/drawing/2014/main" id="{AF300632-EC4E-9165-C060-5A346959059F}"/>
              </a:ext>
            </a:extLst>
          </p:cNvPr>
          <p:cNvSpPr>
            <a:spLocks noGrp="1"/>
          </p:cNvSpPr>
          <p:nvPr>
            <p:ph sz="quarter" idx="36"/>
          </p:nvPr>
        </p:nvSpPr>
        <p:spPr>
          <a:xfrm>
            <a:off x="5346700" y="5544104"/>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78" name="Plassholder for innhold 3">
            <a:extLst>
              <a:ext uri="{FF2B5EF4-FFF2-40B4-BE49-F238E27FC236}">
                <a16:creationId xmlns:a16="http://schemas.microsoft.com/office/drawing/2014/main" id="{E7226DFD-6AE5-919B-FA5E-6D2284D0F815}"/>
              </a:ext>
            </a:extLst>
          </p:cNvPr>
          <p:cNvSpPr>
            <a:spLocks noGrp="1"/>
          </p:cNvSpPr>
          <p:nvPr>
            <p:ph sz="quarter" idx="37" hasCustomPrompt="1"/>
          </p:nvPr>
        </p:nvSpPr>
        <p:spPr>
          <a:xfrm>
            <a:off x="5346701" y="5544126"/>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79" name="Plassholder for innhold 3">
            <a:extLst>
              <a:ext uri="{FF2B5EF4-FFF2-40B4-BE49-F238E27FC236}">
                <a16:creationId xmlns:a16="http://schemas.microsoft.com/office/drawing/2014/main" id="{B0347C19-1463-CB2C-AE10-AC142AC0CA60}"/>
              </a:ext>
            </a:extLst>
          </p:cNvPr>
          <p:cNvSpPr>
            <a:spLocks noGrp="1"/>
          </p:cNvSpPr>
          <p:nvPr>
            <p:ph sz="quarter" idx="35" hasCustomPrompt="1"/>
          </p:nvPr>
        </p:nvSpPr>
        <p:spPr>
          <a:xfrm>
            <a:off x="5346701" y="36107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80" name="Plassholder for innhold 12">
            <a:extLst>
              <a:ext uri="{FF2B5EF4-FFF2-40B4-BE49-F238E27FC236}">
                <a16:creationId xmlns:a16="http://schemas.microsoft.com/office/drawing/2014/main" id="{0E29F5C6-5DA4-26C6-FCF7-346447C20CFA}"/>
              </a:ext>
            </a:extLst>
          </p:cNvPr>
          <p:cNvSpPr>
            <a:spLocks noGrp="1"/>
          </p:cNvSpPr>
          <p:nvPr>
            <p:ph sz="quarter" idx="38"/>
          </p:nvPr>
        </p:nvSpPr>
        <p:spPr>
          <a:xfrm>
            <a:off x="8820662" y="1677325"/>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81" name="Plassholder for innhold 3">
            <a:extLst>
              <a:ext uri="{FF2B5EF4-FFF2-40B4-BE49-F238E27FC236}">
                <a16:creationId xmlns:a16="http://schemas.microsoft.com/office/drawing/2014/main" id="{6DDB704C-CBD1-CC85-86C9-7E38F9F13789}"/>
              </a:ext>
            </a:extLst>
          </p:cNvPr>
          <p:cNvSpPr>
            <a:spLocks noGrp="1"/>
          </p:cNvSpPr>
          <p:nvPr>
            <p:ph sz="quarter" idx="39" hasCustomPrompt="1"/>
          </p:nvPr>
        </p:nvSpPr>
        <p:spPr>
          <a:xfrm>
            <a:off x="8820663" y="16773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82" name="Plassholder for innhold 12">
            <a:extLst>
              <a:ext uri="{FF2B5EF4-FFF2-40B4-BE49-F238E27FC236}">
                <a16:creationId xmlns:a16="http://schemas.microsoft.com/office/drawing/2014/main" id="{E4EAB224-7127-9B24-7558-51F9A951CF0D}"/>
              </a:ext>
            </a:extLst>
          </p:cNvPr>
          <p:cNvSpPr>
            <a:spLocks noGrp="1"/>
          </p:cNvSpPr>
          <p:nvPr>
            <p:ph sz="quarter" idx="40"/>
          </p:nvPr>
        </p:nvSpPr>
        <p:spPr>
          <a:xfrm>
            <a:off x="8820662" y="3610703"/>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83" name="Plassholder for innhold 12">
            <a:extLst>
              <a:ext uri="{FF2B5EF4-FFF2-40B4-BE49-F238E27FC236}">
                <a16:creationId xmlns:a16="http://schemas.microsoft.com/office/drawing/2014/main" id="{B9D2BB4F-65F8-A7B0-C5D9-E45AB8C6E715}"/>
              </a:ext>
            </a:extLst>
          </p:cNvPr>
          <p:cNvSpPr>
            <a:spLocks noGrp="1"/>
          </p:cNvSpPr>
          <p:nvPr>
            <p:ph sz="quarter" idx="41"/>
          </p:nvPr>
        </p:nvSpPr>
        <p:spPr>
          <a:xfrm>
            <a:off x="8820662" y="5544104"/>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84" name="Plassholder for innhold 3">
            <a:extLst>
              <a:ext uri="{FF2B5EF4-FFF2-40B4-BE49-F238E27FC236}">
                <a16:creationId xmlns:a16="http://schemas.microsoft.com/office/drawing/2014/main" id="{73AE9AEC-3C64-A38A-825C-AFB8889A1924}"/>
              </a:ext>
            </a:extLst>
          </p:cNvPr>
          <p:cNvSpPr>
            <a:spLocks noGrp="1"/>
          </p:cNvSpPr>
          <p:nvPr>
            <p:ph sz="quarter" idx="42" hasCustomPrompt="1"/>
          </p:nvPr>
        </p:nvSpPr>
        <p:spPr>
          <a:xfrm>
            <a:off x="8820663" y="5544126"/>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85" name="Plassholder for innhold 3">
            <a:extLst>
              <a:ext uri="{FF2B5EF4-FFF2-40B4-BE49-F238E27FC236}">
                <a16:creationId xmlns:a16="http://schemas.microsoft.com/office/drawing/2014/main" id="{D40B961A-4843-D95D-95CF-FBE386C29587}"/>
              </a:ext>
            </a:extLst>
          </p:cNvPr>
          <p:cNvSpPr>
            <a:spLocks noGrp="1"/>
          </p:cNvSpPr>
          <p:nvPr>
            <p:ph sz="quarter" idx="43" hasCustomPrompt="1"/>
          </p:nvPr>
        </p:nvSpPr>
        <p:spPr>
          <a:xfrm>
            <a:off x="8820663" y="36107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86" name="Plassholder for innhold 12">
            <a:extLst>
              <a:ext uri="{FF2B5EF4-FFF2-40B4-BE49-F238E27FC236}">
                <a16:creationId xmlns:a16="http://schemas.microsoft.com/office/drawing/2014/main" id="{EED84378-B54A-EF8E-327B-F5C57DE1879C}"/>
              </a:ext>
            </a:extLst>
          </p:cNvPr>
          <p:cNvSpPr>
            <a:spLocks noGrp="1"/>
          </p:cNvSpPr>
          <p:nvPr>
            <p:ph sz="quarter" idx="44"/>
          </p:nvPr>
        </p:nvSpPr>
        <p:spPr>
          <a:xfrm>
            <a:off x="1872147" y="1677325"/>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87" name="Plassholder for innhold 3">
            <a:extLst>
              <a:ext uri="{FF2B5EF4-FFF2-40B4-BE49-F238E27FC236}">
                <a16:creationId xmlns:a16="http://schemas.microsoft.com/office/drawing/2014/main" id="{2167897A-E998-5C9C-F987-9930AFE6BD3E}"/>
              </a:ext>
            </a:extLst>
          </p:cNvPr>
          <p:cNvSpPr>
            <a:spLocks noGrp="1"/>
          </p:cNvSpPr>
          <p:nvPr>
            <p:ph sz="quarter" idx="45" hasCustomPrompt="1"/>
          </p:nvPr>
        </p:nvSpPr>
        <p:spPr>
          <a:xfrm>
            <a:off x="1872147" y="16773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88" name="Plassholder for bilde 13">
            <a:extLst>
              <a:ext uri="{FF2B5EF4-FFF2-40B4-BE49-F238E27FC236}">
                <a16:creationId xmlns:a16="http://schemas.microsoft.com/office/drawing/2014/main" id="{C7970327-645D-8320-5E66-2543C9868C97}"/>
              </a:ext>
            </a:extLst>
          </p:cNvPr>
          <p:cNvSpPr>
            <a:spLocks noGrp="1"/>
          </p:cNvSpPr>
          <p:nvPr>
            <p:ph type="pic" sz="quarter" idx="46"/>
          </p:nvPr>
        </p:nvSpPr>
        <p:spPr>
          <a:xfrm>
            <a:off x="231934" y="5544126"/>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89" name="Plassholder for bilde 13">
            <a:extLst>
              <a:ext uri="{FF2B5EF4-FFF2-40B4-BE49-F238E27FC236}">
                <a16:creationId xmlns:a16="http://schemas.microsoft.com/office/drawing/2014/main" id="{09DEF3A4-E4F6-E6C0-7674-31E353DC7F08}"/>
              </a:ext>
            </a:extLst>
          </p:cNvPr>
          <p:cNvSpPr>
            <a:spLocks noGrp="1"/>
          </p:cNvSpPr>
          <p:nvPr>
            <p:ph type="pic" sz="quarter" idx="47"/>
          </p:nvPr>
        </p:nvSpPr>
        <p:spPr>
          <a:xfrm>
            <a:off x="231934" y="16773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90" name="Plassholder for tekst 8">
            <a:extLst>
              <a:ext uri="{FF2B5EF4-FFF2-40B4-BE49-F238E27FC236}">
                <a16:creationId xmlns:a16="http://schemas.microsoft.com/office/drawing/2014/main" id="{AC4DE6D7-3E89-A8E0-7E46-00F72959B0F8}"/>
              </a:ext>
            </a:extLst>
          </p:cNvPr>
          <p:cNvSpPr>
            <a:spLocks noGrp="1"/>
          </p:cNvSpPr>
          <p:nvPr>
            <p:ph type="body" sz="quarter" idx="48"/>
          </p:nvPr>
        </p:nvSpPr>
        <p:spPr>
          <a:xfrm>
            <a:off x="231934" y="1441110"/>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1" name="Plassholder for tekst 8">
            <a:extLst>
              <a:ext uri="{FF2B5EF4-FFF2-40B4-BE49-F238E27FC236}">
                <a16:creationId xmlns:a16="http://schemas.microsoft.com/office/drawing/2014/main" id="{84E575D5-2DC5-6AC6-2833-D3932555F870}"/>
              </a:ext>
            </a:extLst>
          </p:cNvPr>
          <p:cNvSpPr>
            <a:spLocks noGrp="1"/>
          </p:cNvSpPr>
          <p:nvPr>
            <p:ph type="body" sz="quarter" idx="49"/>
          </p:nvPr>
        </p:nvSpPr>
        <p:spPr>
          <a:xfrm>
            <a:off x="231934" y="3373496"/>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2" name="Plassholder for tekst 8">
            <a:extLst>
              <a:ext uri="{FF2B5EF4-FFF2-40B4-BE49-F238E27FC236}">
                <a16:creationId xmlns:a16="http://schemas.microsoft.com/office/drawing/2014/main" id="{1ACAD2AE-558E-6E62-5486-58EF8AB1FC3B}"/>
              </a:ext>
            </a:extLst>
          </p:cNvPr>
          <p:cNvSpPr>
            <a:spLocks noGrp="1"/>
          </p:cNvSpPr>
          <p:nvPr>
            <p:ph type="body" sz="quarter" idx="50"/>
          </p:nvPr>
        </p:nvSpPr>
        <p:spPr>
          <a:xfrm>
            <a:off x="231934" y="5305882"/>
            <a:ext cx="3283800" cy="2382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93" name="Plassholder for bilde 13">
            <a:extLst>
              <a:ext uri="{FF2B5EF4-FFF2-40B4-BE49-F238E27FC236}">
                <a16:creationId xmlns:a16="http://schemas.microsoft.com/office/drawing/2014/main" id="{A776C93A-D04D-9483-4791-A565D47985D8}"/>
              </a:ext>
            </a:extLst>
          </p:cNvPr>
          <p:cNvSpPr>
            <a:spLocks noGrp="1"/>
          </p:cNvSpPr>
          <p:nvPr>
            <p:ph type="pic" sz="quarter" idx="51"/>
          </p:nvPr>
        </p:nvSpPr>
        <p:spPr>
          <a:xfrm>
            <a:off x="231934" y="3610725"/>
            <a:ext cx="1547175" cy="1532398"/>
          </a:xfrm>
          <a:prstGeom prst="roundRect">
            <a:avLst>
              <a:gd name="adj" fmla="val 4249"/>
            </a:avLst>
          </a:prstGeom>
          <a:solidFill>
            <a:schemeClr val="bg1">
              <a:lumMod val="95000"/>
            </a:schemeClr>
          </a:solidFill>
        </p:spPr>
        <p:txBody>
          <a:bodyPr wrap="square">
            <a:noAutofit/>
          </a:bodyPr>
          <a:lstStyle>
            <a:lvl1pPr marL="0" indent="0">
              <a:buNone/>
              <a:defRPr sz="1228"/>
            </a:lvl1pPr>
          </a:lstStyle>
          <a:p>
            <a:r>
              <a:rPr lang="nb-NO"/>
              <a:t>Klikk på ikonet for å legge til et bilde</a:t>
            </a:r>
            <a:endParaRPr lang="en-US"/>
          </a:p>
        </p:txBody>
      </p:sp>
      <p:sp>
        <p:nvSpPr>
          <p:cNvPr id="94" name="Plassholder for innhold 12">
            <a:extLst>
              <a:ext uri="{FF2B5EF4-FFF2-40B4-BE49-F238E27FC236}">
                <a16:creationId xmlns:a16="http://schemas.microsoft.com/office/drawing/2014/main" id="{457F6D73-C252-51BC-9235-6AB3E14F5531}"/>
              </a:ext>
            </a:extLst>
          </p:cNvPr>
          <p:cNvSpPr>
            <a:spLocks noGrp="1"/>
          </p:cNvSpPr>
          <p:nvPr>
            <p:ph sz="quarter" idx="52"/>
          </p:nvPr>
        </p:nvSpPr>
        <p:spPr>
          <a:xfrm>
            <a:off x="1872147" y="3610703"/>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95" name="Plassholder for innhold 12">
            <a:extLst>
              <a:ext uri="{FF2B5EF4-FFF2-40B4-BE49-F238E27FC236}">
                <a16:creationId xmlns:a16="http://schemas.microsoft.com/office/drawing/2014/main" id="{6291B8AC-E444-4658-E9D8-39F2A1165E5E}"/>
              </a:ext>
            </a:extLst>
          </p:cNvPr>
          <p:cNvSpPr>
            <a:spLocks noGrp="1"/>
          </p:cNvSpPr>
          <p:nvPr>
            <p:ph sz="quarter" idx="53"/>
          </p:nvPr>
        </p:nvSpPr>
        <p:spPr>
          <a:xfrm>
            <a:off x="1872147" y="5544104"/>
            <a:ext cx="1641900" cy="1532420"/>
          </a:xfrm>
          <a:prstGeom prst="roundRect">
            <a:avLst>
              <a:gd name="adj" fmla="val 4418"/>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96" name="Plassholder for innhold 3">
            <a:extLst>
              <a:ext uri="{FF2B5EF4-FFF2-40B4-BE49-F238E27FC236}">
                <a16:creationId xmlns:a16="http://schemas.microsoft.com/office/drawing/2014/main" id="{BBA0D501-1594-CE98-84DA-8576D2079648}"/>
              </a:ext>
            </a:extLst>
          </p:cNvPr>
          <p:cNvSpPr>
            <a:spLocks noGrp="1"/>
          </p:cNvSpPr>
          <p:nvPr>
            <p:ph sz="quarter" idx="54" hasCustomPrompt="1"/>
          </p:nvPr>
        </p:nvSpPr>
        <p:spPr>
          <a:xfrm>
            <a:off x="1872147" y="5544126"/>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
        <p:nvSpPr>
          <p:cNvPr id="97" name="Plassholder for innhold 3">
            <a:extLst>
              <a:ext uri="{FF2B5EF4-FFF2-40B4-BE49-F238E27FC236}">
                <a16:creationId xmlns:a16="http://schemas.microsoft.com/office/drawing/2014/main" id="{3812E0B7-29C9-DEAC-46CD-A15E630F64BB}"/>
              </a:ext>
            </a:extLst>
          </p:cNvPr>
          <p:cNvSpPr>
            <a:spLocks noGrp="1"/>
          </p:cNvSpPr>
          <p:nvPr>
            <p:ph sz="quarter" idx="55" hasCustomPrompt="1"/>
          </p:nvPr>
        </p:nvSpPr>
        <p:spPr>
          <a:xfrm>
            <a:off x="1872147" y="3610725"/>
            <a:ext cx="1641604" cy="1532398"/>
          </a:xfrm>
          <a:prstGeom prst="rect">
            <a:avLst/>
          </a:prstGeom>
        </p:spPr>
        <p:txBody>
          <a:bodyPr lIns="72000" tIns="36000" rIns="36000" bIns="36000"/>
          <a:lstStyle>
            <a:lvl1pPr marL="0" indent="0">
              <a:lnSpc>
                <a:spcPct val="105000"/>
              </a:lnSpc>
              <a:spcBef>
                <a:spcPts val="0"/>
              </a:spcBef>
              <a:buNone/>
              <a:defRPr sz="877"/>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Tekst eller tabell</a:t>
            </a:r>
          </a:p>
        </p:txBody>
      </p:sp>
    </p:spTree>
    <p:extLst>
      <p:ext uri="{BB962C8B-B14F-4D97-AF65-F5344CB8AC3E}">
        <p14:creationId xmlns:p14="http://schemas.microsoft.com/office/powerpoint/2010/main" val="105345486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tombstones (bre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B2FD88-81BC-C37E-FAFB-A7573AD298ED}"/>
              </a:ext>
            </a:extLst>
          </p:cNvPr>
          <p:cNvGraphicFramePr>
            <a:graphicFrameLocks noChangeAspect="1"/>
          </p:cNvGraphicFramePr>
          <p:nvPr userDrawn="1">
            <p:custDataLst>
              <p:tags r:id="rId1"/>
            </p:custDataLst>
            <p:extLst>
              <p:ext uri="{D42A27DB-BD31-4B8C-83A1-F6EECF244321}">
                <p14:modId xmlns:p14="http://schemas.microsoft.com/office/powerpoint/2010/main" val="303485673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5" name="think-cell data - do not delete" hidden="1">
                        <a:extLst>
                          <a:ext uri="{FF2B5EF4-FFF2-40B4-BE49-F238E27FC236}">
                            <a16:creationId xmlns:a16="http://schemas.microsoft.com/office/drawing/2014/main" id="{38B2FD88-81BC-C37E-FAFB-A7573AD298E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lassholder for innhold 12">
            <a:extLst>
              <a:ext uri="{FF2B5EF4-FFF2-40B4-BE49-F238E27FC236}">
                <a16:creationId xmlns:a16="http://schemas.microsoft.com/office/drawing/2014/main" id="{61AA6499-C5F7-5CA0-CBD7-93F55F23F83D}"/>
              </a:ext>
            </a:extLst>
          </p:cNvPr>
          <p:cNvSpPr>
            <a:spLocks noGrp="1"/>
          </p:cNvSpPr>
          <p:nvPr>
            <p:ph sz="quarter" idx="69"/>
          </p:nvPr>
        </p:nvSpPr>
        <p:spPr>
          <a:xfrm>
            <a:off x="231131" y="3909624"/>
            <a:ext cx="2415488" cy="3166472"/>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33" name="Plassholder for innhold 3">
            <a:extLst>
              <a:ext uri="{FF2B5EF4-FFF2-40B4-BE49-F238E27FC236}">
                <a16:creationId xmlns:a16="http://schemas.microsoft.com/office/drawing/2014/main" id="{56E98C88-25ED-7CB3-C50D-AB2399934BD4}"/>
              </a:ext>
            </a:extLst>
          </p:cNvPr>
          <p:cNvSpPr>
            <a:spLocks noGrp="1"/>
          </p:cNvSpPr>
          <p:nvPr>
            <p:ph sz="quarter" idx="70"/>
          </p:nvPr>
        </p:nvSpPr>
        <p:spPr>
          <a:xfrm>
            <a:off x="231494" y="3909641"/>
            <a:ext cx="2415488" cy="3166472"/>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4" name="Plassholder for bilde 13">
            <a:extLst>
              <a:ext uri="{FF2B5EF4-FFF2-40B4-BE49-F238E27FC236}">
                <a16:creationId xmlns:a16="http://schemas.microsoft.com/office/drawing/2014/main" id="{3D0AEDB3-571B-8A67-C6F0-AFDFA25C483D}"/>
              </a:ext>
            </a:extLst>
          </p:cNvPr>
          <p:cNvSpPr>
            <a:spLocks noGrp="1"/>
          </p:cNvSpPr>
          <p:nvPr>
            <p:ph type="pic" sz="quarter" idx="59" hasCustomPrompt="1"/>
          </p:nvPr>
        </p:nvSpPr>
        <p:spPr>
          <a:xfrm>
            <a:off x="230837" y="1719011"/>
            <a:ext cx="2415488" cy="1943370"/>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17" name="Plassholder for tekst 8">
            <a:extLst>
              <a:ext uri="{FF2B5EF4-FFF2-40B4-BE49-F238E27FC236}">
                <a16:creationId xmlns:a16="http://schemas.microsoft.com/office/drawing/2014/main" id="{70736CEE-258D-D08D-AE3D-3A29842461AB}"/>
              </a:ext>
            </a:extLst>
          </p:cNvPr>
          <p:cNvSpPr>
            <a:spLocks noGrp="1"/>
          </p:cNvSpPr>
          <p:nvPr>
            <p:ph type="body" sz="quarter" idx="60"/>
          </p:nvPr>
        </p:nvSpPr>
        <p:spPr>
          <a:xfrm>
            <a:off x="230838"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3" name="Plassholder for tekst 8">
            <a:extLst>
              <a:ext uri="{FF2B5EF4-FFF2-40B4-BE49-F238E27FC236}">
                <a16:creationId xmlns:a16="http://schemas.microsoft.com/office/drawing/2014/main" id="{E52723DC-338C-A136-473F-84D54C4AC8FA}"/>
              </a:ext>
            </a:extLst>
          </p:cNvPr>
          <p:cNvSpPr>
            <a:spLocks noGrp="1"/>
          </p:cNvSpPr>
          <p:nvPr>
            <p:ph type="body" sz="quarter" idx="80"/>
          </p:nvPr>
        </p:nvSpPr>
        <p:spPr>
          <a:xfrm>
            <a:off x="2836532"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4" name="Plassholder for tekst 8">
            <a:extLst>
              <a:ext uri="{FF2B5EF4-FFF2-40B4-BE49-F238E27FC236}">
                <a16:creationId xmlns:a16="http://schemas.microsoft.com/office/drawing/2014/main" id="{6F58FA34-0D4D-CAA9-8E08-B00935E04DF5}"/>
              </a:ext>
            </a:extLst>
          </p:cNvPr>
          <p:cNvSpPr>
            <a:spLocks noGrp="1"/>
          </p:cNvSpPr>
          <p:nvPr>
            <p:ph type="body" sz="quarter" idx="81"/>
          </p:nvPr>
        </p:nvSpPr>
        <p:spPr>
          <a:xfrm>
            <a:off x="5441383"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5" name="Plassholder for tekst 8">
            <a:extLst>
              <a:ext uri="{FF2B5EF4-FFF2-40B4-BE49-F238E27FC236}">
                <a16:creationId xmlns:a16="http://schemas.microsoft.com/office/drawing/2014/main" id="{B946810E-5F00-297A-12F0-185F1D7BF697}"/>
              </a:ext>
            </a:extLst>
          </p:cNvPr>
          <p:cNvSpPr>
            <a:spLocks noGrp="1"/>
          </p:cNvSpPr>
          <p:nvPr>
            <p:ph type="body" sz="quarter" idx="82"/>
          </p:nvPr>
        </p:nvSpPr>
        <p:spPr>
          <a:xfrm>
            <a:off x="8046235"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6" name="Plassholder for tekst 11">
            <a:extLst>
              <a:ext uri="{FF2B5EF4-FFF2-40B4-BE49-F238E27FC236}">
                <a16:creationId xmlns:a16="http://schemas.microsoft.com/office/drawing/2014/main" id="{11519AAD-7F1E-F584-DCAA-EF7F21009730}"/>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6" name="Rektangel 5">
            <a:extLst>
              <a:ext uri="{FF2B5EF4-FFF2-40B4-BE49-F238E27FC236}">
                <a16:creationId xmlns:a16="http://schemas.microsoft.com/office/drawing/2014/main" id="{99B09104-9939-81AA-A343-577FD3424071}"/>
              </a:ext>
            </a:extLst>
          </p:cNvPr>
          <p:cNvSpPr/>
          <p:nvPr userDrawn="1"/>
        </p:nvSpPr>
        <p:spPr>
          <a:xfrm>
            <a:off x="-2887218" y="1"/>
            <a:ext cx="2793652" cy="386545"/>
          </a:xfrm>
          <a:prstGeom prst="rect">
            <a:avLst/>
          </a:prstGeom>
          <a:solidFill>
            <a:srgbClr val="3C0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a:solidFill>
                  <a:schemeClr val="bg1"/>
                </a:solidFill>
              </a:rPr>
              <a:t>Eksempel ved bruk av tabeller</a:t>
            </a:r>
          </a:p>
        </p:txBody>
      </p:sp>
      <p:pic>
        <p:nvPicPr>
          <p:cNvPr id="8" name="Bilde 7">
            <a:extLst>
              <a:ext uri="{FF2B5EF4-FFF2-40B4-BE49-F238E27FC236}">
                <a16:creationId xmlns:a16="http://schemas.microsoft.com/office/drawing/2014/main" id="{7D9C0908-CE92-C4BC-3DF1-6AC7EC24599D}"/>
              </a:ext>
            </a:extLst>
          </p:cNvPr>
          <p:cNvPicPr>
            <a:picLocks noChangeAspect="1"/>
          </p:cNvPicPr>
          <p:nvPr userDrawn="1"/>
        </p:nvPicPr>
        <p:blipFill rotWithShape="1">
          <a:blip r:embed="rId5"/>
          <a:srcRect l="33333"/>
          <a:stretch/>
        </p:blipFill>
        <p:spPr>
          <a:xfrm>
            <a:off x="-1350042" y="3086929"/>
            <a:ext cx="1256475" cy="822712"/>
          </a:xfrm>
          <a:prstGeom prst="rect">
            <a:avLst/>
          </a:prstGeom>
        </p:spPr>
      </p:pic>
      <p:cxnSp>
        <p:nvCxnSpPr>
          <p:cNvPr id="9" name="Rett pilkobling 8">
            <a:extLst>
              <a:ext uri="{FF2B5EF4-FFF2-40B4-BE49-F238E27FC236}">
                <a16:creationId xmlns:a16="http://schemas.microsoft.com/office/drawing/2014/main" id="{999B94FC-FDB3-173B-B4AF-0240509455A2}"/>
              </a:ext>
            </a:extLst>
          </p:cNvPr>
          <p:cNvCxnSpPr>
            <a:cxnSpLocks/>
          </p:cNvCxnSpPr>
          <p:nvPr userDrawn="1"/>
        </p:nvCxnSpPr>
        <p:spPr>
          <a:xfrm flipV="1">
            <a:off x="-868838" y="3610073"/>
            <a:ext cx="149826" cy="38983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12" name="Bilde 11">
            <a:extLst>
              <a:ext uri="{FF2B5EF4-FFF2-40B4-BE49-F238E27FC236}">
                <a16:creationId xmlns:a16="http://schemas.microsoft.com/office/drawing/2014/main" id="{53703684-B02D-3485-900A-63EDD3DFEF04}"/>
              </a:ext>
            </a:extLst>
          </p:cNvPr>
          <p:cNvPicPr>
            <a:picLocks noChangeAspect="1"/>
          </p:cNvPicPr>
          <p:nvPr userDrawn="1"/>
        </p:nvPicPr>
        <p:blipFill>
          <a:blip r:embed="rId6"/>
          <a:stretch>
            <a:fillRect/>
          </a:stretch>
        </p:blipFill>
        <p:spPr>
          <a:xfrm>
            <a:off x="-1978278" y="433114"/>
            <a:ext cx="1884710" cy="1432980"/>
          </a:xfrm>
          <a:prstGeom prst="rect">
            <a:avLst/>
          </a:prstGeom>
        </p:spPr>
      </p:pic>
      <p:sp>
        <p:nvSpPr>
          <p:cNvPr id="13" name="Rektangel 12">
            <a:extLst>
              <a:ext uri="{FF2B5EF4-FFF2-40B4-BE49-F238E27FC236}">
                <a16:creationId xmlns:a16="http://schemas.microsoft.com/office/drawing/2014/main" id="{8121B8E6-5FA3-7186-9154-AEEE7A55BACA}"/>
              </a:ext>
            </a:extLst>
          </p:cNvPr>
          <p:cNvSpPr/>
          <p:nvPr userDrawn="1"/>
        </p:nvSpPr>
        <p:spPr>
          <a:xfrm>
            <a:off x="-1108326" y="1061600"/>
            <a:ext cx="256196" cy="33612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Frihåndsform: figur 15">
            <a:extLst>
              <a:ext uri="{FF2B5EF4-FFF2-40B4-BE49-F238E27FC236}">
                <a16:creationId xmlns:a16="http://schemas.microsoft.com/office/drawing/2014/main" id="{EA1D6B4A-6710-8329-0348-84C66F536D87}"/>
              </a:ext>
            </a:extLst>
          </p:cNvPr>
          <p:cNvSpPr/>
          <p:nvPr userDrawn="1"/>
        </p:nvSpPr>
        <p:spPr>
          <a:xfrm>
            <a:off x="-1978278" y="433114"/>
            <a:ext cx="1884710" cy="1432980"/>
          </a:xfrm>
          <a:custGeom>
            <a:avLst/>
            <a:gdLst>
              <a:gd name="connsiteX0" fmla="*/ 991869 w 2148838"/>
              <a:gd name="connsiteY0" fmla="*/ 569912 h 1299428"/>
              <a:gd name="connsiteX1" fmla="*/ 991869 w 2148838"/>
              <a:gd name="connsiteY1" fmla="*/ 874712 h 1299428"/>
              <a:gd name="connsiteX2" fmla="*/ 1283969 w 2148838"/>
              <a:gd name="connsiteY2" fmla="*/ 874712 h 1299428"/>
              <a:gd name="connsiteX3" fmla="*/ 1283969 w 2148838"/>
              <a:gd name="connsiteY3" fmla="*/ 569912 h 1299428"/>
              <a:gd name="connsiteX4" fmla="*/ 0 w 2148838"/>
              <a:gd name="connsiteY4" fmla="*/ 0 h 1299428"/>
              <a:gd name="connsiteX5" fmla="*/ 2148838 w 2148838"/>
              <a:gd name="connsiteY5" fmla="*/ 0 h 1299428"/>
              <a:gd name="connsiteX6" fmla="*/ 2148838 w 2148838"/>
              <a:gd name="connsiteY6" fmla="*/ 1299428 h 1299428"/>
              <a:gd name="connsiteX7" fmla="*/ 0 w 2148838"/>
              <a:gd name="connsiteY7" fmla="*/ 1299428 h 12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838" h="1299428">
                <a:moveTo>
                  <a:pt x="991869" y="569912"/>
                </a:moveTo>
                <a:lnTo>
                  <a:pt x="991869" y="874712"/>
                </a:lnTo>
                <a:lnTo>
                  <a:pt x="1283969" y="874712"/>
                </a:lnTo>
                <a:lnTo>
                  <a:pt x="1283969" y="569912"/>
                </a:lnTo>
                <a:close/>
                <a:moveTo>
                  <a:pt x="0" y="0"/>
                </a:moveTo>
                <a:lnTo>
                  <a:pt x="2148838" y="0"/>
                </a:lnTo>
                <a:lnTo>
                  <a:pt x="2148838" y="1299428"/>
                </a:lnTo>
                <a:lnTo>
                  <a:pt x="0" y="1299428"/>
                </a:lnTo>
                <a:close/>
              </a:path>
            </a:pathLst>
          </a:custGeom>
          <a:solidFill>
            <a:schemeClr val="bg1">
              <a:lumMod val="8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pic>
        <p:nvPicPr>
          <p:cNvPr id="18" name="Bilde 17">
            <a:extLst>
              <a:ext uri="{FF2B5EF4-FFF2-40B4-BE49-F238E27FC236}">
                <a16:creationId xmlns:a16="http://schemas.microsoft.com/office/drawing/2014/main" id="{B4E00EDE-932A-1294-0FF1-1E761606AC4D}"/>
              </a:ext>
            </a:extLst>
          </p:cNvPr>
          <p:cNvPicPr>
            <a:picLocks noChangeAspect="1"/>
          </p:cNvPicPr>
          <p:nvPr userDrawn="1"/>
        </p:nvPicPr>
        <p:blipFill>
          <a:blip r:embed="rId7"/>
          <a:stretch>
            <a:fillRect/>
          </a:stretch>
        </p:blipFill>
        <p:spPr>
          <a:xfrm>
            <a:off x="-1350041" y="2027161"/>
            <a:ext cx="1180937" cy="939547"/>
          </a:xfrm>
          <a:prstGeom prst="rect">
            <a:avLst/>
          </a:prstGeom>
        </p:spPr>
      </p:pic>
      <p:sp>
        <p:nvSpPr>
          <p:cNvPr id="19" name="Rektangel 18">
            <a:extLst>
              <a:ext uri="{FF2B5EF4-FFF2-40B4-BE49-F238E27FC236}">
                <a16:creationId xmlns:a16="http://schemas.microsoft.com/office/drawing/2014/main" id="{2FBE4878-490A-83D8-6F4F-AAC1201C81A0}"/>
              </a:ext>
            </a:extLst>
          </p:cNvPr>
          <p:cNvSpPr/>
          <p:nvPr userDrawn="1"/>
        </p:nvSpPr>
        <p:spPr>
          <a:xfrm>
            <a:off x="-2887217" y="2015833"/>
            <a:ext cx="153717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antall kolonner/rader:</a:t>
            </a:r>
          </a:p>
        </p:txBody>
      </p:sp>
      <p:sp>
        <p:nvSpPr>
          <p:cNvPr id="20" name="Rektangel 19">
            <a:extLst>
              <a:ext uri="{FF2B5EF4-FFF2-40B4-BE49-F238E27FC236}">
                <a16:creationId xmlns:a16="http://schemas.microsoft.com/office/drawing/2014/main" id="{824F35CB-54B7-98CA-E034-942FB23733B6}"/>
              </a:ext>
            </a:extLst>
          </p:cNvPr>
          <p:cNvSpPr/>
          <p:nvPr userDrawn="1"/>
        </p:nvSpPr>
        <p:spPr>
          <a:xfrm>
            <a:off x="-2887218" y="486457"/>
            <a:ext cx="93509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Sett inn tabell:</a:t>
            </a:r>
          </a:p>
        </p:txBody>
      </p:sp>
      <p:sp>
        <p:nvSpPr>
          <p:cNvPr id="21" name="Rektangel 20">
            <a:extLst>
              <a:ext uri="{FF2B5EF4-FFF2-40B4-BE49-F238E27FC236}">
                <a16:creationId xmlns:a16="http://schemas.microsoft.com/office/drawing/2014/main" id="{44E1CE5D-94B8-A4BD-54AD-DCEB24FB41E1}"/>
              </a:ext>
            </a:extLst>
          </p:cNvPr>
          <p:cNvSpPr/>
          <p:nvPr userDrawn="1"/>
        </p:nvSpPr>
        <p:spPr>
          <a:xfrm>
            <a:off x="-2887218" y="3042337"/>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formatet</a:t>
            </a:r>
            <a:br>
              <a:rPr lang="nb-NO" sz="921">
                <a:solidFill>
                  <a:schemeClr val="tx1"/>
                </a:solidFill>
              </a:rPr>
            </a:br>
            <a:r>
              <a:rPr lang="nb-NO" sz="921">
                <a:solidFill>
                  <a:schemeClr val="tx1"/>
                </a:solidFill>
              </a:rPr>
              <a:t>«Ingen stil, ingen rutenett»:  </a:t>
            </a:r>
          </a:p>
        </p:txBody>
      </p:sp>
      <p:pic>
        <p:nvPicPr>
          <p:cNvPr id="22" name="Bilde 21">
            <a:extLst>
              <a:ext uri="{FF2B5EF4-FFF2-40B4-BE49-F238E27FC236}">
                <a16:creationId xmlns:a16="http://schemas.microsoft.com/office/drawing/2014/main" id="{13B3622C-863A-EE59-0D25-470E3ABF7E2F}"/>
              </a:ext>
            </a:extLst>
          </p:cNvPr>
          <p:cNvPicPr>
            <a:picLocks noChangeAspect="1"/>
          </p:cNvPicPr>
          <p:nvPr userDrawn="1"/>
        </p:nvPicPr>
        <p:blipFill rotWithShape="1">
          <a:blip r:embed="rId8"/>
          <a:srcRect b="24510"/>
          <a:stretch/>
        </p:blipFill>
        <p:spPr>
          <a:xfrm>
            <a:off x="-4313037" y="4108449"/>
            <a:ext cx="4219469" cy="1427491"/>
          </a:xfrm>
          <a:prstGeom prst="rect">
            <a:avLst/>
          </a:prstGeom>
        </p:spPr>
      </p:pic>
      <p:sp>
        <p:nvSpPr>
          <p:cNvPr id="23" name="Frihåndsform: figur 22">
            <a:extLst>
              <a:ext uri="{FF2B5EF4-FFF2-40B4-BE49-F238E27FC236}">
                <a16:creationId xmlns:a16="http://schemas.microsoft.com/office/drawing/2014/main" id="{C33300F3-7A71-37F9-DC29-3A6EB24B54C3}"/>
              </a:ext>
            </a:extLst>
          </p:cNvPr>
          <p:cNvSpPr/>
          <p:nvPr userDrawn="1"/>
        </p:nvSpPr>
        <p:spPr>
          <a:xfrm>
            <a:off x="-4313037" y="4108447"/>
            <a:ext cx="4219469" cy="1789307"/>
          </a:xfrm>
          <a:custGeom>
            <a:avLst/>
            <a:gdLst>
              <a:gd name="connsiteX0" fmla="*/ 551884 w 4810796"/>
              <a:gd name="connsiteY0" fmla="*/ 739037 h 1622545"/>
              <a:gd name="connsiteX1" fmla="*/ 551884 w 4810796"/>
              <a:gd name="connsiteY1" fmla="*/ 1023243 h 1622545"/>
              <a:gd name="connsiteX2" fmla="*/ 823733 w 4810796"/>
              <a:gd name="connsiteY2" fmla="*/ 1023243 h 1622545"/>
              <a:gd name="connsiteX3" fmla="*/ 823733 w 4810796"/>
              <a:gd name="connsiteY3" fmla="*/ 739037 h 1622545"/>
              <a:gd name="connsiteX4" fmla="*/ 4104452 w 4810796"/>
              <a:gd name="connsiteY4" fmla="*/ 102665 h 1622545"/>
              <a:gd name="connsiteX5" fmla="*/ 4104452 w 4810796"/>
              <a:gd name="connsiteY5" fmla="*/ 368335 h 1622545"/>
              <a:gd name="connsiteX6" fmla="*/ 4716112 w 4810796"/>
              <a:gd name="connsiteY6" fmla="*/ 368335 h 1622545"/>
              <a:gd name="connsiteX7" fmla="*/ 4716112 w 4810796"/>
              <a:gd name="connsiteY7" fmla="*/ 102665 h 1622545"/>
              <a:gd name="connsiteX8" fmla="*/ 0 w 4810796"/>
              <a:gd name="connsiteY8" fmla="*/ 0 h 1622545"/>
              <a:gd name="connsiteX9" fmla="*/ 4810796 w 4810796"/>
              <a:gd name="connsiteY9" fmla="*/ 0 h 1622545"/>
              <a:gd name="connsiteX10" fmla="*/ 4810796 w 4810796"/>
              <a:gd name="connsiteY10" fmla="*/ 1622545 h 1622545"/>
              <a:gd name="connsiteX11" fmla="*/ 0 w 4810796"/>
              <a:gd name="connsiteY11" fmla="*/ 1622545 h 162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796" h="1622545">
                <a:moveTo>
                  <a:pt x="551884" y="739037"/>
                </a:moveTo>
                <a:lnTo>
                  <a:pt x="551884" y="1023243"/>
                </a:lnTo>
                <a:lnTo>
                  <a:pt x="823733" y="1023243"/>
                </a:lnTo>
                <a:lnTo>
                  <a:pt x="823733" y="739037"/>
                </a:lnTo>
                <a:close/>
                <a:moveTo>
                  <a:pt x="4104452" y="102665"/>
                </a:moveTo>
                <a:lnTo>
                  <a:pt x="4104452" y="368335"/>
                </a:lnTo>
                <a:lnTo>
                  <a:pt x="4716112" y="368335"/>
                </a:lnTo>
                <a:lnTo>
                  <a:pt x="4716112" y="102665"/>
                </a:lnTo>
                <a:close/>
                <a:moveTo>
                  <a:pt x="0" y="0"/>
                </a:moveTo>
                <a:lnTo>
                  <a:pt x="4810796" y="0"/>
                </a:lnTo>
                <a:lnTo>
                  <a:pt x="4810796" y="1622545"/>
                </a:lnTo>
                <a:lnTo>
                  <a:pt x="0" y="1622545"/>
                </a:lnTo>
                <a:close/>
              </a:path>
            </a:pathLst>
          </a:custGeom>
          <a:solidFill>
            <a:srgbClr val="E6E6E6">
              <a:alpha val="6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24" name="Rektangel 23">
            <a:extLst>
              <a:ext uri="{FF2B5EF4-FFF2-40B4-BE49-F238E27FC236}">
                <a16:creationId xmlns:a16="http://schemas.microsoft.com/office/drawing/2014/main" id="{9FA4DDE6-B51A-3420-7DCF-14CEC725820A}"/>
              </a:ext>
            </a:extLst>
          </p:cNvPr>
          <p:cNvSpPr/>
          <p:nvPr userDrawn="1"/>
        </p:nvSpPr>
        <p:spPr>
          <a:xfrm>
            <a:off x="-713091" y="4221664"/>
            <a:ext cx="536477" cy="2929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ktangel 24">
            <a:extLst>
              <a:ext uri="{FF2B5EF4-FFF2-40B4-BE49-F238E27FC236}">
                <a16:creationId xmlns:a16="http://schemas.microsoft.com/office/drawing/2014/main" id="{B685A8DF-9DD1-5E78-31F2-42EDA0EE98EE}"/>
              </a:ext>
            </a:extLst>
          </p:cNvPr>
          <p:cNvSpPr/>
          <p:nvPr userDrawn="1"/>
        </p:nvSpPr>
        <p:spPr>
          <a:xfrm>
            <a:off x="-3828988" y="4923441"/>
            <a:ext cx="238434" cy="31341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7" name="Bilde 26">
            <a:extLst>
              <a:ext uri="{FF2B5EF4-FFF2-40B4-BE49-F238E27FC236}">
                <a16:creationId xmlns:a16="http://schemas.microsoft.com/office/drawing/2014/main" id="{7CABB49B-946C-0A8C-D9BA-68C5D567D91B}"/>
              </a:ext>
            </a:extLst>
          </p:cNvPr>
          <p:cNvPicPr>
            <a:picLocks noChangeAspect="1"/>
          </p:cNvPicPr>
          <p:nvPr userDrawn="1"/>
        </p:nvPicPr>
        <p:blipFill>
          <a:blip r:embed="rId9"/>
          <a:stretch>
            <a:fillRect/>
          </a:stretch>
        </p:blipFill>
        <p:spPr>
          <a:xfrm>
            <a:off x="-1978278" y="5562307"/>
            <a:ext cx="1884710" cy="2000543"/>
          </a:xfrm>
          <a:prstGeom prst="rect">
            <a:avLst/>
          </a:prstGeom>
        </p:spPr>
      </p:pic>
      <p:sp>
        <p:nvSpPr>
          <p:cNvPr id="28" name="Rektangel 27">
            <a:extLst>
              <a:ext uri="{FF2B5EF4-FFF2-40B4-BE49-F238E27FC236}">
                <a16:creationId xmlns:a16="http://schemas.microsoft.com/office/drawing/2014/main" id="{5174A75E-57FD-F799-CDFC-FFD114C6879C}"/>
              </a:ext>
            </a:extLst>
          </p:cNvPr>
          <p:cNvSpPr/>
          <p:nvPr userDrawn="1"/>
        </p:nvSpPr>
        <p:spPr>
          <a:xfrm>
            <a:off x="-4377610" y="3802682"/>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err="1">
                <a:solidFill>
                  <a:schemeClr val="tx1"/>
                </a:solidFill>
              </a:rPr>
              <a:t>Midtstill</a:t>
            </a:r>
            <a:r>
              <a:rPr lang="nb-NO" sz="921">
                <a:solidFill>
                  <a:schemeClr val="tx1"/>
                </a:solidFill>
              </a:rPr>
              <a:t> teksten loddrett:</a:t>
            </a:r>
          </a:p>
        </p:txBody>
      </p:sp>
      <p:sp>
        <p:nvSpPr>
          <p:cNvPr id="3" name="Plassholder for tekst 7">
            <a:extLst>
              <a:ext uri="{FF2B5EF4-FFF2-40B4-BE49-F238E27FC236}">
                <a16:creationId xmlns:a16="http://schemas.microsoft.com/office/drawing/2014/main" id="{83230BAF-C573-CBF0-3247-CC03B1657A8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29" name="Plassholder for bilde 13">
            <a:extLst>
              <a:ext uri="{FF2B5EF4-FFF2-40B4-BE49-F238E27FC236}">
                <a16:creationId xmlns:a16="http://schemas.microsoft.com/office/drawing/2014/main" id="{6B444DA4-0F78-9FDE-3683-94931BCC274C}"/>
              </a:ext>
            </a:extLst>
          </p:cNvPr>
          <p:cNvSpPr>
            <a:spLocks noGrp="1"/>
          </p:cNvSpPr>
          <p:nvPr>
            <p:ph type="pic" sz="quarter" idx="83" hasCustomPrompt="1"/>
          </p:nvPr>
        </p:nvSpPr>
        <p:spPr>
          <a:xfrm>
            <a:off x="2836531" y="1719011"/>
            <a:ext cx="2415488" cy="1943370"/>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0" name="Plassholder for bilde 13">
            <a:extLst>
              <a:ext uri="{FF2B5EF4-FFF2-40B4-BE49-F238E27FC236}">
                <a16:creationId xmlns:a16="http://schemas.microsoft.com/office/drawing/2014/main" id="{9EA2B1EA-D4DC-CCB0-F0B0-9850F5DCEDE9}"/>
              </a:ext>
            </a:extLst>
          </p:cNvPr>
          <p:cNvSpPr>
            <a:spLocks noGrp="1"/>
          </p:cNvSpPr>
          <p:nvPr>
            <p:ph type="pic" sz="quarter" idx="84" hasCustomPrompt="1"/>
          </p:nvPr>
        </p:nvSpPr>
        <p:spPr>
          <a:xfrm>
            <a:off x="5441383" y="1719011"/>
            <a:ext cx="2415488" cy="1943370"/>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1" name="Plassholder for bilde 13">
            <a:extLst>
              <a:ext uri="{FF2B5EF4-FFF2-40B4-BE49-F238E27FC236}">
                <a16:creationId xmlns:a16="http://schemas.microsoft.com/office/drawing/2014/main" id="{39D4FAD1-A73F-A0E6-73B0-ED14516C3EDC}"/>
              </a:ext>
            </a:extLst>
          </p:cNvPr>
          <p:cNvSpPr>
            <a:spLocks noGrp="1"/>
          </p:cNvSpPr>
          <p:nvPr>
            <p:ph type="pic" sz="quarter" idx="85" hasCustomPrompt="1"/>
          </p:nvPr>
        </p:nvSpPr>
        <p:spPr>
          <a:xfrm>
            <a:off x="8046234" y="1719011"/>
            <a:ext cx="2415488" cy="1943370"/>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6" name="Plassholder for innhold 12">
            <a:extLst>
              <a:ext uri="{FF2B5EF4-FFF2-40B4-BE49-F238E27FC236}">
                <a16:creationId xmlns:a16="http://schemas.microsoft.com/office/drawing/2014/main" id="{51A3D28E-E99E-DF28-30FB-8BE4776027E9}"/>
              </a:ext>
            </a:extLst>
          </p:cNvPr>
          <p:cNvSpPr>
            <a:spLocks noGrp="1"/>
          </p:cNvSpPr>
          <p:nvPr>
            <p:ph sz="quarter" idx="86"/>
          </p:nvPr>
        </p:nvSpPr>
        <p:spPr>
          <a:xfrm>
            <a:off x="2836531" y="3909624"/>
            <a:ext cx="2415488" cy="3166472"/>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37" name="Plassholder for innhold 3">
            <a:extLst>
              <a:ext uri="{FF2B5EF4-FFF2-40B4-BE49-F238E27FC236}">
                <a16:creationId xmlns:a16="http://schemas.microsoft.com/office/drawing/2014/main" id="{007C3DCC-C3FD-72E0-2766-D5DEE6F35528}"/>
              </a:ext>
            </a:extLst>
          </p:cNvPr>
          <p:cNvSpPr>
            <a:spLocks noGrp="1"/>
          </p:cNvSpPr>
          <p:nvPr>
            <p:ph sz="quarter" idx="87"/>
          </p:nvPr>
        </p:nvSpPr>
        <p:spPr>
          <a:xfrm>
            <a:off x="2836531" y="3909641"/>
            <a:ext cx="2415488" cy="3166472"/>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2" name="Plassholder for innhold 12">
            <a:extLst>
              <a:ext uri="{FF2B5EF4-FFF2-40B4-BE49-F238E27FC236}">
                <a16:creationId xmlns:a16="http://schemas.microsoft.com/office/drawing/2014/main" id="{CE6CD79B-7004-B21D-1088-D82B449C9E59}"/>
              </a:ext>
            </a:extLst>
          </p:cNvPr>
          <p:cNvSpPr>
            <a:spLocks noGrp="1"/>
          </p:cNvSpPr>
          <p:nvPr>
            <p:ph sz="quarter" idx="88"/>
          </p:nvPr>
        </p:nvSpPr>
        <p:spPr>
          <a:xfrm>
            <a:off x="5441383" y="3909624"/>
            <a:ext cx="2415488" cy="3166472"/>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43" name="Plassholder for innhold 3">
            <a:extLst>
              <a:ext uri="{FF2B5EF4-FFF2-40B4-BE49-F238E27FC236}">
                <a16:creationId xmlns:a16="http://schemas.microsoft.com/office/drawing/2014/main" id="{2ABD5D43-EA97-3DA5-79BD-7C437E6B9085}"/>
              </a:ext>
            </a:extLst>
          </p:cNvPr>
          <p:cNvSpPr>
            <a:spLocks noGrp="1"/>
          </p:cNvSpPr>
          <p:nvPr>
            <p:ph sz="quarter" idx="89"/>
          </p:nvPr>
        </p:nvSpPr>
        <p:spPr>
          <a:xfrm>
            <a:off x="5441383" y="3909641"/>
            <a:ext cx="2415488" cy="3166472"/>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4" name="Plassholder for innhold 12">
            <a:extLst>
              <a:ext uri="{FF2B5EF4-FFF2-40B4-BE49-F238E27FC236}">
                <a16:creationId xmlns:a16="http://schemas.microsoft.com/office/drawing/2014/main" id="{9430AB8D-5855-78BA-C506-E2B2326DF63B}"/>
              </a:ext>
            </a:extLst>
          </p:cNvPr>
          <p:cNvSpPr>
            <a:spLocks noGrp="1"/>
          </p:cNvSpPr>
          <p:nvPr>
            <p:ph sz="quarter" idx="90"/>
          </p:nvPr>
        </p:nvSpPr>
        <p:spPr>
          <a:xfrm>
            <a:off x="8046234" y="3909624"/>
            <a:ext cx="2415488" cy="3166472"/>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45" name="Plassholder for innhold 3">
            <a:extLst>
              <a:ext uri="{FF2B5EF4-FFF2-40B4-BE49-F238E27FC236}">
                <a16:creationId xmlns:a16="http://schemas.microsoft.com/office/drawing/2014/main" id="{8D773AE4-8481-AFA0-BE42-C521C3D6A07A}"/>
              </a:ext>
            </a:extLst>
          </p:cNvPr>
          <p:cNvSpPr>
            <a:spLocks noGrp="1"/>
          </p:cNvSpPr>
          <p:nvPr>
            <p:ph sz="quarter" idx="91"/>
          </p:nvPr>
        </p:nvSpPr>
        <p:spPr>
          <a:xfrm>
            <a:off x="8046234" y="3909641"/>
            <a:ext cx="2415488" cy="3166472"/>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60606965"/>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tombstones (kvadra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B2FD88-81BC-C37E-FAFB-A7573AD298ED}"/>
              </a:ext>
            </a:extLst>
          </p:cNvPr>
          <p:cNvGraphicFramePr>
            <a:graphicFrameLocks noChangeAspect="1"/>
          </p:cNvGraphicFramePr>
          <p:nvPr userDrawn="1">
            <p:custDataLst>
              <p:tags r:id="rId1"/>
            </p:custDataLst>
            <p:extLst>
              <p:ext uri="{D42A27DB-BD31-4B8C-83A1-F6EECF244321}">
                <p14:modId xmlns:p14="http://schemas.microsoft.com/office/powerpoint/2010/main" val="303485673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5" name="think-cell data - do not delete" hidden="1">
                        <a:extLst>
                          <a:ext uri="{FF2B5EF4-FFF2-40B4-BE49-F238E27FC236}">
                            <a16:creationId xmlns:a16="http://schemas.microsoft.com/office/drawing/2014/main" id="{38B2FD88-81BC-C37E-FAFB-A7573AD298E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lassholder for innhold 12">
            <a:extLst>
              <a:ext uri="{FF2B5EF4-FFF2-40B4-BE49-F238E27FC236}">
                <a16:creationId xmlns:a16="http://schemas.microsoft.com/office/drawing/2014/main" id="{61AA6499-C5F7-5CA0-CBD7-93F55F23F83D}"/>
              </a:ext>
            </a:extLst>
          </p:cNvPr>
          <p:cNvSpPr>
            <a:spLocks noGrp="1"/>
          </p:cNvSpPr>
          <p:nvPr>
            <p:ph sz="quarter" idx="69"/>
          </p:nvPr>
        </p:nvSpPr>
        <p:spPr>
          <a:xfrm>
            <a:off x="231131" y="4376702"/>
            <a:ext cx="2415488" cy="2699394"/>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33" name="Plassholder for innhold 3">
            <a:extLst>
              <a:ext uri="{FF2B5EF4-FFF2-40B4-BE49-F238E27FC236}">
                <a16:creationId xmlns:a16="http://schemas.microsoft.com/office/drawing/2014/main" id="{56E98C88-25ED-7CB3-C50D-AB2399934BD4}"/>
              </a:ext>
            </a:extLst>
          </p:cNvPr>
          <p:cNvSpPr>
            <a:spLocks noGrp="1"/>
          </p:cNvSpPr>
          <p:nvPr>
            <p:ph sz="quarter" idx="70"/>
          </p:nvPr>
        </p:nvSpPr>
        <p:spPr>
          <a:xfrm>
            <a:off x="231494" y="4376718"/>
            <a:ext cx="2415488" cy="2699394"/>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lysbildenummer 1">
            <a:extLst>
              <a:ext uri="{FF2B5EF4-FFF2-40B4-BE49-F238E27FC236}">
                <a16:creationId xmlns:a16="http://schemas.microsoft.com/office/drawing/2014/main" id="{0D02B13B-3CE3-74B8-C9A2-93CEFEFC22F6}"/>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11" name="TekstSylinder 10">
            <a:extLst>
              <a:ext uri="{FF2B5EF4-FFF2-40B4-BE49-F238E27FC236}">
                <a16:creationId xmlns:a16="http://schemas.microsoft.com/office/drawing/2014/main" id="{1D78C871-46E0-FF8E-F64C-5F10761C8A00}"/>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4" name="Plassholder for bilde 13">
            <a:extLst>
              <a:ext uri="{FF2B5EF4-FFF2-40B4-BE49-F238E27FC236}">
                <a16:creationId xmlns:a16="http://schemas.microsoft.com/office/drawing/2014/main" id="{3D0AEDB3-571B-8A67-C6F0-AFDFA25C483D}"/>
              </a:ext>
            </a:extLst>
          </p:cNvPr>
          <p:cNvSpPr>
            <a:spLocks noGrp="1"/>
          </p:cNvSpPr>
          <p:nvPr>
            <p:ph type="pic" sz="quarter" idx="59" hasCustomPrompt="1"/>
          </p:nvPr>
        </p:nvSpPr>
        <p:spPr>
          <a:xfrm>
            <a:off x="230837" y="1719011"/>
            <a:ext cx="2415488" cy="2419508"/>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17" name="Plassholder for tekst 8">
            <a:extLst>
              <a:ext uri="{FF2B5EF4-FFF2-40B4-BE49-F238E27FC236}">
                <a16:creationId xmlns:a16="http://schemas.microsoft.com/office/drawing/2014/main" id="{70736CEE-258D-D08D-AE3D-3A29842461AB}"/>
              </a:ext>
            </a:extLst>
          </p:cNvPr>
          <p:cNvSpPr>
            <a:spLocks noGrp="1"/>
          </p:cNvSpPr>
          <p:nvPr>
            <p:ph type="body" sz="quarter" idx="60"/>
          </p:nvPr>
        </p:nvSpPr>
        <p:spPr>
          <a:xfrm>
            <a:off x="230838"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3" name="Plassholder for tekst 8">
            <a:extLst>
              <a:ext uri="{FF2B5EF4-FFF2-40B4-BE49-F238E27FC236}">
                <a16:creationId xmlns:a16="http://schemas.microsoft.com/office/drawing/2014/main" id="{E52723DC-338C-A136-473F-84D54C4AC8FA}"/>
              </a:ext>
            </a:extLst>
          </p:cNvPr>
          <p:cNvSpPr>
            <a:spLocks noGrp="1"/>
          </p:cNvSpPr>
          <p:nvPr>
            <p:ph type="body" sz="quarter" idx="80"/>
          </p:nvPr>
        </p:nvSpPr>
        <p:spPr>
          <a:xfrm>
            <a:off x="2836532"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4" name="Plassholder for tekst 8">
            <a:extLst>
              <a:ext uri="{FF2B5EF4-FFF2-40B4-BE49-F238E27FC236}">
                <a16:creationId xmlns:a16="http://schemas.microsoft.com/office/drawing/2014/main" id="{6F58FA34-0D4D-CAA9-8E08-B00935E04DF5}"/>
              </a:ext>
            </a:extLst>
          </p:cNvPr>
          <p:cNvSpPr>
            <a:spLocks noGrp="1"/>
          </p:cNvSpPr>
          <p:nvPr>
            <p:ph type="body" sz="quarter" idx="81"/>
          </p:nvPr>
        </p:nvSpPr>
        <p:spPr>
          <a:xfrm>
            <a:off x="5441383"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5" name="Plassholder for tekst 8">
            <a:extLst>
              <a:ext uri="{FF2B5EF4-FFF2-40B4-BE49-F238E27FC236}">
                <a16:creationId xmlns:a16="http://schemas.microsoft.com/office/drawing/2014/main" id="{B946810E-5F00-297A-12F0-185F1D7BF697}"/>
              </a:ext>
            </a:extLst>
          </p:cNvPr>
          <p:cNvSpPr>
            <a:spLocks noGrp="1"/>
          </p:cNvSpPr>
          <p:nvPr>
            <p:ph type="body" sz="quarter" idx="82"/>
          </p:nvPr>
        </p:nvSpPr>
        <p:spPr>
          <a:xfrm>
            <a:off x="8046235" y="1439125"/>
            <a:ext cx="2415487" cy="277900"/>
          </a:xfrm>
          <a:prstGeom prst="rect">
            <a:avLst/>
          </a:prstGeom>
        </p:spPr>
        <p:txBody>
          <a:bodyPr lIns="0" tIns="0" rIns="0" bIns="0" anchor="t" anchorCtr="0"/>
          <a:lstStyle>
            <a:lvl1pPr marL="0" indent="0">
              <a:buNone/>
              <a:defRPr sz="1140" b="0">
                <a:latin typeface="Fold Grotesque Pro Medium" panose="020B0603030201040103" pitchFamily="34" charset="0"/>
              </a:defRPr>
            </a:lvl1pPr>
            <a:lvl2pPr>
              <a:defRPr sz="1140"/>
            </a:lvl2pPr>
            <a:lvl3pPr>
              <a:defRPr sz="1140"/>
            </a:lvl3pPr>
            <a:lvl4pPr>
              <a:defRPr sz="1140"/>
            </a:lvl4pPr>
            <a:lvl5pPr>
              <a:defRPr sz="1140"/>
            </a:lvl5pPr>
          </a:lstStyle>
          <a:p>
            <a:pPr lvl="0"/>
            <a:r>
              <a:rPr lang="nb-NO"/>
              <a:t>Klikk for å redigere tekststiler i malen</a:t>
            </a:r>
          </a:p>
        </p:txBody>
      </p:sp>
      <p:sp>
        <p:nvSpPr>
          <p:cNvPr id="66" name="Plassholder for tekst 11">
            <a:extLst>
              <a:ext uri="{FF2B5EF4-FFF2-40B4-BE49-F238E27FC236}">
                <a16:creationId xmlns:a16="http://schemas.microsoft.com/office/drawing/2014/main" id="{11519AAD-7F1E-F584-DCAA-EF7F21009730}"/>
              </a:ext>
            </a:extLst>
          </p:cNvPr>
          <p:cNvSpPr>
            <a:spLocks noGrp="1"/>
          </p:cNvSpPr>
          <p:nvPr>
            <p:ph type="body" sz="quarter" idx="13" hasCustomPrompt="1"/>
          </p:nvPr>
        </p:nvSpPr>
        <p:spPr>
          <a:xfrm>
            <a:off x="10257082" y="7247071"/>
            <a:ext cx="205184" cy="97271"/>
          </a:xfrm>
          <a:prstGeom prst="rect">
            <a:avLst/>
          </a:prstGeom>
        </p:spPr>
        <p:txBody>
          <a:bodyPr wrap="none" lIns="0" tIns="0" rIns="0" bIns="0" anchor="b" anchorCtr="0">
            <a:spAutoFit/>
          </a:bodyPr>
          <a:lstStyle>
            <a:lvl1pPr marL="0" indent="0" algn="r">
              <a:buNone/>
              <a:defRPr sz="702"/>
            </a:lvl1pPr>
            <a:lvl2pPr marL="401010" indent="0">
              <a:buNone/>
              <a:defRPr sz="702"/>
            </a:lvl2pPr>
            <a:lvl3pPr marL="802020" indent="0">
              <a:buNone/>
              <a:defRPr sz="702"/>
            </a:lvl3pPr>
            <a:lvl4pPr marL="1203030" indent="0">
              <a:buNone/>
              <a:defRPr sz="702"/>
            </a:lvl4pPr>
            <a:lvl5pPr marL="1604040" indent="0">
              <a:buNone/>
              <a:defRPr sz="702"/>
            </a:lvl5pPr>
          </a:lstStyle>
          <a:p>
            <a:pPr lvl="0"/>
            <a:r>
              <a:rPr lang="nb-NO"/>
              <a:t>Kilde:</a:t>
            </a:r>
          </a:p>
        </p:txBody>
      </p:sp>
      <p:sp>
        <p:nvSpPr>
          <p:cNvPr id="6" name="Rektangel 5">
            <a:extLst>
              <a:ext uri="{FF2B5EF4-FFF2-40B4-BE49-F238E27FC236}">
                <a16:creationId xmlns:a16="http://schemas.microsoft.com/office/drawing/2014/main" id="{99B09104-9939-81AA-A343-577FD3424071}"/>
              </a:ext>
            </a:extLst>
          </p:cNvPr>
          <p:cNvSpPr/>
          <p:nvPr userDrawn="1"/>
        </p:nvSpPr>
        <p:spPr>
          <a:xfrm>
            <a:off x="-2887218" y="1"/>
            <a:ext cx="2793652" cy="386545"/>
          </a:xfrm>
          <a:prstGeom prst="rect">
            <a:avLst/>
          </a:prstGeom>
          <a:solidFill>
            <a:srgbClr val="3C0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a:solidFill>
                  <a:schemeClr val="bg1"/>
                </a:solidFill>
              </a:rPr>
              <a:t>Eksempel ved bruk av tabeller</a:t>
            </a:r>
          </a:p>
        </p:txBody>
      </p:sp>
      <p:pic>
        <p:nvPicPr>
          <p:cNvPr id="8" name="Bilde 7">
            <a:extLst>
              <a:ext uri="{FF2B5EF4-FFF2-40B4-BE49-F238E27FC236}">
                <a16:creationId xmlns:a16="http://schemas.microsoft.com/office/drawing/2014/main" id="{7D9C0908-CE92-C4BC-3DF1-6AC7EC24599D}"/>
              </a:ext>
            </a:extLst>
          </p:cNvPr>
          <p:cNvPicPr>
            <a:picLocks noChangeAspect="1"/>
          </p:cNvPicPr>
          <p:nvPr userDrawn="1"/>
        </p:nvPicPr>
        <p:blipFill rotWithShape="1">
          <a:blip r:embed="rId5"/>
          <a:srcRect l="33333"/>
          <a:stretch/>
        </p:blipFill>
        <p:spPr>
          <a:xfrm>
            <a:off x="-1350042" y="3086929"/>
            <a:ext cx="1256475" cy="822712"/>
          </a:xfrm>
          <a:prstGeom prst="rect">
            <a:avLst/>
          </a:prstGeom>
        </p:spPr>
      </p:pic>
      <p:cxnSp>
        <p:nvCxnSpPr>
          <p:cNvPr id="9" name="Rett pilkobling 8">
            <a:extLst>
              <a:ext uri="{FF2B5EF4-FFF2-40B4-BE49-F238E27FC236}">
                <a16:creationId xmlns:a16="http://schemas.microsoft.com/office/drawing/2014/main" id="{999B94FC-FDB3-173B-B4AF-0240509455A2}"/>
              </a:ext>
            </a:extLst>
          </p:cNvPr>
          <p:cNvCxnSpPr>
            <a:cxnSpLocks/>
          </p:cNvCxnSpPr>
          <p:nvPr userDrawn="1"/>
        </p:nvCxnSpPr>
        <p:spPr>
          <a:xfrm flipV="1">
            <a:off x="-868838" y="3610073"/>
            <a:ext cx="149826" cy="38983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12" name="Bilde 11">
            <a:extLst>
              <a:ext uri="{FF2B5EF4-FFF2-40B4-BE49-F238E27FC236}">
                <a16:creationId xmlns:a16="http://schemas.microsoft.com/office/drawing/2014/main" id="{53703684-B02D-3485-900A-63EDD3DFEF04}"/>
              </a:ext>
            </a:extLst>
          </p:cNvPr>
          <p:cNvPicPr>
            <a:picLocks noChangeAspect="1"/>
          </p:cNvPicPr>
          <p:nvPr userDrawn="1"/>
        </p:nvPicPr>
        <p:blipFill>
          <a:blip r:embed="rId6"/>
          <a:stretch>
            <a:fillRect/>
          </a:stretch>
        </p:blipFill>
        <p:spPr>
          <a:xfrm>
            <a:off x="-1978278" y="433114"/>
            <a:ext cx="1884710" cy="1432980"/>
          </a:xfrm>
          <a:prstGeom prst="rect">
            <a:avLst/>
          </a:prstGeom>
        </p:spPr>
      </p:pic>
      <p:sp>
        <p:nvSpPr>
          <p:cNvPr id="13" name="Rektangel 12">
            <a:extLst>
              <a:ext uri="{FF2B5EF4-FFF2-40B4-BE49-F238E27FC236}">
                <a16:creationId xmlns:a16="http://schemas.microsoft.com/office/drawing/2014/main" id="{8121B8E6-5FA3-7186-9154-AEEE7A55BACA}"/>
              </a:ext>
            </a:extLst>
          </p:cNvPr>
          <p:cNvSpPr/>
          <p:nvPr userDrawn="1"/>
        </p:nvSpPr>
        <p:spPr>
          <a:xfrm>
            <a:off x="-1108326" y="1061600"/>
            <a:ext cx="256196" cy="33612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Frihåndsform: figur 15">
            <a:extLst>
              <a:ext uri="{FF2B5EF4-FFF2-40B4-BE49-F238E27FC236}">
                <a16:creationId xmlns:a16="http://schemas.microsoft.com/office/drawing/2014/main" id="{EA1D6B4A-6710-8329-0348-84C66F536D87}"/>
              </a:ext>
            </a:extLst>
          </p:cNvPr>
          <p:cNvSpPr/>
          <p:nvPr userDrawn="1"/>
        </p:nvSpPr>
        <p:spPr>
          <a:xfrm>
            <a:off x="-1978278" y="433114"/>
            <a:ext cx="1884710" cy="1432980"/>
          </a:xfrm>
          <a:custGeom>
            <a:avLst/>
            <a:gdLst>
              <a:gd name="connsiteX0" fmla="*/ 991869 w 2148838"/>
              <a:gd name="connsiteY0" fmla="*/ 569912 h 1299428"/>
              <a:gd name="connsiteX1" fmla="*/ 991869 w 2148838"/>
              <a:gd name="connsiteY1" fmla="*/ 874712 h 1299428"/>
              <a:gd name="connsiteX2" fmla="*/ 1283969 w 2148838"/>
              <a:gd name="connsiteY2" fmla="*/ 874712 h 1299428"/>
              <a:gd name="connsiteX3" fmla="*/ 1283969 w 2148838"/>
              <a:gd name="connsiteY3" fmla="*/ 569912 h 1299428"/>
              <a:gd name="connsiteX4" fmla="*/ 0 w 2148838"/>
              <a:gd name="connsiteY4" fmla="*/ 0 h 1299428"/>
              <a:gd name="connsiteX5" fmla="*/ 2148838 w 2148838"/>
              <a:gd name="connsiteY5" fmla="*/ 0 h 1299428"/>
              <a:gd name="connsiteX6" fmla="*/ 2148838 w 2148838"/>
              <a:gd name="connsiteY6" fmla="*/ 1299428 h 1299428"/>
              <a:gd name="connsiteX7" fmla="*/ 0 w 2148838"/>
              <a:gd name="connsiteY7" fmla="*/ 1299428 h 12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838" h="1299428">
                <a:moveTo>
                  <a:pt x="991869" y="569912"/>
                </a:moveTo>
                <a:lnTo>
                  <a:pt x="991869" y="874712"/>
                </a:lnTo>
                <a:lnTo>
                  <a:pt x="1283969" y="874712"/>
                </a:lnTo>
                <a:lnTo>
                  <a:pt x="1283969" y="569912"/>
                </a:lnTo>
                <a:close/>
                <a:moveTo>
                  <a:pt x="0" y="0"/>
                </a:moveTo>
                <a:lnTo>
                  <a:pt x="2148838" y="0"/>
                </a:lnTo>
                <a:lnTo>
                  <a:pt x="2148838" y="1299428"/>
                </a:lnTo>
                <a:lnTo>
                  <a:pt x="0" y="1299428"/>
                </a:lnTo>
                <a:close/>
              </a:path>
            </a:pathLst>
          </a:custGeom>
          <a:solidFill>
            <a:schemeClr val="bg1">
              <a:lumMod val="8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pic>
        <p:nvPicPr>
          <p:cNvPr id="18" name="Bilde 17">
            <a:extLst>
              <a:ext uri="{FF2B5EF4-FFF2-40B4-BE49-F238E27FC236}">
                <a16:creationId xmlns:a16="http://schemas.microsoft.com/office/drawing/2014/main" id="{B4E00EDE-932A-1294-0FF1-1E761606AC4D}"/>
              </a:ext>
            </a:extLst>
          </p:cNvPr>
          <p:cNvPicPr>
            <a:picLocks noChangeAspect="1"/>
          </p:cNvPicPr>
          <p:nvPr userDrawn="1"/>
        </p:nvPicPr>
        <p:blipFill>
          <a:blip r:embed="rId7"/>
          <a:stretch>
            <a:fillRect/>
          </a:stretch>
        </p:blipFill>
        <p:spPr>
          <a:xfrm>
            <a:off x="-1350041" y="2027161"/>
            <a:ext cx="1180937" cy="939547"/>
          </a:xfrm>
          <a:prstGeom prst="rect">
            <a:avLst/>
          </a:prstGeom>
        </p:spPr>
      </p:pic>
      <p:sp>
        <p:nvSpPr>
          <p:cNvPr id="19" name="Rektangel 18">
            <a:extLst>
              <a:ext uri="{FF2B5EF4-FFF2-40B4-BE49-F238E27FC236}">
                <a16:creationId xmlns:a16="http://schemas.microsoft.com/office/drawing/2014/main" id="{2FBE4878-490A-83D8-6F4F-AAC1201C81A0}"/>
              </a:ext>
            </a:extLst>
          </p:cNvPr>
          <p:cNvSpPr/>
          <p:nvPr userDrawn="1"/>
        </p:nvSpPr>
        <p:spPr>
          <a:xfrm>
            <a:off x="-2887217" y="2015833"/>
            <a:ext cx="153717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antall kolonner/rader:</a:t>
            </a:r>
          </a:p>
        </p:txBody>
      </p:sp>
      <p:sp>
        <p:nvSpPr>
          <p:cNvPr id="20" name="Rektangel 19">
            <a:extLst>
              <a:ext uri="{FF2B5EF4-FFF2-40B4-BE49-F238E27FC236}">
                <a16:creationId xmlns:a16="http://schemas.microsoft.com/office/drawing/2014/main" id="{824F35CB-54B7-98CA-E034-942FB23733B6}"/>
              </a:ext>
            </a:extLst>
          </p:cNvPr>
          <p:cNvSpPr/>
          <p:nvPr userDrawn="1"/>
        </p:nvSpPr>
        <p:spPr>
          <a:xfrm>
            <a:off x="-2887218" y="486457"/>
            <a:ext cx="935095"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Sett inn tabell:</a:t>
            </a:r>
          </a:p>
        </p:txBody>
      </p:sp>
      <p:sp>
        <p:nvSpPr>
          <p:cNvPr id="21" name="Rektangel 20">
            <a:extLst>
              <a:ext uri="{FF2B5EF4-FFF2-40B4-BE49-F238E27FC236}">
                <a16:creationId xmlns:a16="http://schemas.microsoft.com/office/drawing/2014/main" id="{44E1CE5D-94B8-A4BD-54AD-DCEB24FB41E1}"/>
              </a:ext>
            </a:extLst>
          </p:cNvPr>
          <p:cNvSpPr/>
          <p:nvPr userDrawn="1"/>
        </p:nvSpPr>
        <p:spPr>
          <a:xfrm>
            <a:off x="-2887218" y="3042337"/>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a:solidFill>
                  <a:schemeClr val="tx1"/>
                </a:solidFill>
              </a:rPr>
              <a:t>Velg formatet</a:t>
            </a:r>
            <a:br>
              <a:rPr lang="nb-NO" sz="921">
                <a:solidFill>
                  <a:schemeClr val="tx1"/>
                </a:solidFill>
              </a:rPr>
            </a:br>
            <a:r>
              <a:rPr lang="nb-NO" sz="921">
                <a:solidFill>
                  <a:schemeClr val="tx1"/>
                </a:solidFill>
              </a:rPr>
              <a:t>«Ingen stil, ingen rutenett»:  </a:t>
            </a:r>
          </a:p>
        </p:txBody>
      </p:sp>
      <p:pic>
        <p:nvPicPr>
          <p:cNvPr id="22" name="Bilde 21">
            <a:extLst>
              <a:ext uri="{FF2B5EF4-FFF2-40B4-BE49-F238E27FC236}">
                <a16:creationId xmlns:a16="http://schemas.microsoft.com/office/drawing/2014/main" id="{13B3622C-863A-EE59-0D25-470E3ABF7E2F}"/>
              </a:ext>
            </a:extLst>
          </p:cNvPr>
          <p:cNvPicPr>
            <a:picLocks noChangeAspect="1"/>
          </p:cNvPicPr>
          <p:nvPr userDrawn="1"/>
        </p:nvPicPr>
        <p:blipFill rotWithShape="1">
          <a:blip r:embed="rId8"/>
          <a:srcRect b="24510"/>
          <a:stretch/>
        </p:blipFill>
        <p:spPr>
          <a:xfrm>
            <a:off x="-4313037" y="4108449"/>
            <a:ext cx="4219469" cy="1427491"/>
          </a:xfrm>
          <a:prstGeom prst="rect">
            <a:avLst/>
          </a:prstGeom>
        </p:spPr>
      </p:pic>
      <p:sp>
        <p:nvSpPr>
          <p:cNvPr id="23" name="Frihåndsform: figur 22">
            <a:extLst>
              <a:ext uri="{FF2B5EF4-FFF2-40B4-BE49-F238E27FC236}">
                <a16:creationId xmlns:a16="http://schemas.microsoft.com/office/drawing/2014/main" id="{C33300F3-7A71-37F9-DC29-3A6EB24B54C3}"/>
              </a:ext>
            </a:extLst>
          </p:cNvPr>
          <p:cNvSpPr/>
          <p:nvPr userDrawn="1"/>
        </p:nvSpPr>
        <p:spPr>
          <a:xfrm>
            <a:off x="-4313037" y="4108447"/>
            <a:ext cx="4219469" cy="1789307"/>
          </a:xfrm>
          <a:custGeom>
            <a:avLst/>
            <a:gdLst>
              <a:gd name="connsiteX0" fmla="*/ 551884 w 4810796"/>
              <a:gd name="connsiteY0" fmla="*/ 739037 h 1622545"/>
              <a:gd name="connsiteX1" fmla="*/ 551884 w 4810796"/>
              <a:gd name="connsiteY1" fmla="*/ 1023243 h 1622545"/>
              <a:gd name="connsiteX2" fmla="*/ 823733 w 4810796"/>
              <a:gd name="connsiteY2" fmla="*/ 1023243 h 1622545"/>
              <a:gd name="connsiteX3" fmla="*/ 823733 w 4810796"/>
              <a:gd name="connsiteY3" fmla="*/ 739037 h 1622545"/>
              <a:gd name="connsiteX4" fmla="*/ 4104452 w 4810796"/>
              <a:gd name="connsiteY4" fmla="*/ 102665 h 1622545"/>
              <a:gd name="connsiteX5" fmla="*/ 4104452 w 4810796"/>
              <a:gd name="connsiteY5" fmla="*/ 368335 h 1622545"/>
              <a:gd name="connsiteX6" fmla="*/ 4716112 w 4810796"/>
              <a:gd name="connsiteY6" fmla="*/ 368335 h 1622545"/>
              <a:gd name="connsiteX7" fmla="*/ 4716112 w 4810796"/>
              <a:gd name="connsiteY7" fmla="*/ 102665 h 1622545"/>
              <a:gd name="connsiteX8" fmla="*/ 0 w 4810796"/>
              <a:gd name="connsiteY8" fmla="*/ 0 h 1622545"/>
              <a:gd name="connsiteX9" fmla="*/ 4810796 w 4810796"/>
              <a:gd name="connsiteY9" fmla="*/ 0 h 1622545"/>
              <a:gd name="connsiteX10" fmla="*/ 4810796 w 4810796"/>
              <a:gd name="connsiteY10" fmla="*/ 1622545 h 1622545"/>
              <a:gd name="connsiteX11" fmla="*/ 0 w 4810796"/>
              <a:gd name="connsiteY11" fmla="*/ 1622545 h 162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796" h="1622545">
                <a:moveTo>
                  <a:pt x="551884" y="739037"/>
                </a:moveTo>
                <a:lnTo>
                  <a:pt x="551884" y="1023243"/>
                </a:lnTo>
                <a:lnTo>
                  <a:pt x="823733" y="1023243"/>
                </a:lnTo>
                <a:lnTo>
                  <a:pt x="823733" y="739037"/>
                </a:lnTo>
                <a:close/>
                <a:moveTo>
                  <a:pt x="4104452" y="102665"/>
                </a:moveTo>
                <a:lnTo>
                  <a:pt x="4104452" y="368335"/>
                </a:lnTo>
                <a:lnTo>
                  <a:pt x="4716112" y="368335"/>
                </a:lnTo>
                <a:lnTo>
                  <a:pt x="4716112" y="102665"/>
                </a:lnTo>
                <a:close/>
                <a:moveTo>
                  <a:pt x="0" y="0"/>
                </a:moveTo>
                <a:lnTo>
                  <a:pt x="4810796" y="0"/>
                </a:lnTo>
                <a:lnTo>
                  <a:pt x="4810796" y="1622545"/>
                </a:lnTo>
                <a:lnTo>
                  <a:pt x="0" y="1622545"/>
                </a:lnTo>
                <a:close/>
              </a:path>
            </a:pathLst>
          </a:custGeom>
          <a:solidFill>
            <a:srgbClr val="E6E6E6">
              <a:alpha val="6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24" name="Rektangel 23">
            <a:extLst>
              <a:ext uri="{FF2B5EF4-FFF2-40B4-BE49-F238E27FC236}">
                <a16:creationId xmlns:a16="http://schemas.microsoft.com/office/drawing/2014/main" id="{9FA4DDE6-B51A-3420-7DCF-14CEC725820A}"/>
              </a:ext>
            </a:extLst>
          </p:cNvPr>
          <p:cNvSpPr/>
          <p:nvPr userDrawn="1"/>
        </p:nvSpPr>
        <p:spPr>
          <a:xfrm>
            <a:off x="-713091" y="4221664"/>
            <a:ext cx="536477" cy="2929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ktangel 24">
            <a:extLst>
              <a:ext uri="{FF2B5EF4-FFF2-40B4-BE49-F238E27FC236}">
                <a16:creationId xmlns:a16="http://schemas.microsoft.com/office/drawing/2014/main" id="{B685A8DF-9DD1-5E78-31F2-42EDA0EE98EE}"/>
              </a:ext>
            </a:extLst>
          </p:cNvPr>
          <p:cNvSpPr/>
          <p:nvPr userDrawn="1"/>
        </p:nvSpPr>
        <p:spPr>
          <a:xfrm>
            <a:off x="-3828988" y="4923441"/>
            <a:ext cx="238434" cy="31341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7" name="Bilde 26">
            <a:extLst>
              <a:ext uri="{FF2B5EF4-FFF2-40B4-BE49-F238E27FC236}">
                <a16:creationId xmlns:a16="http://schemas.microsoft.com/office/drawing/2014/main" id="{7CABB49B-946C-0A8C-D9BA-68C5D567D91B}"/>
              </a:ext>
            </a:extLst>
          </p:cNvPr>
          <p:cNvPicPr>
            <a:picLocks noChangeAspect="1"/>
          </p:cNvPicPr>
          <p:nvPr userDrawn="1"/>
        </p:nvPicPr>
        <p:blipFill>
          <a:blip r:embed="rId9"/>
          <a:stretch>
            <a:fillRect/>
          </a:stretch>
        </p:blipFill>
        <p:spPr>
          <a:xfrm>
            <a:off x="-1978278" y="5562307"/>
            <a:ext cx="1884710" cy="2000543"/>
          </a:xfrm>
          <a:prstGeom prst="rect">
            <a:avLst/>
          </a:prstGeom>
        </p:spPr>
      </p:pic>
      <p:sp>
        <p:nvSpPr>
          <p:cNvPr id="28" name="Rektangel 27">
            <a:extLst>
              <a:ext uri="{FF2B5EF4-FFF2-40B4-BE49-F238E27FC236}">
                <a16:creationId xmlns:a16="http://schemas.microsoft.com/office/drawing/2014/main" id="{5174A75E-57FD-F799-CDFC-FFD114C6879C}"/>
              </a:ext>
            </a:extLst>
          </p:cNvPr>
          <p:cNvSpPr/>
          <p:nvPr userDrawn="1"/>
        </p:nvSpPr>
        <p:spPr>
          <a:xfrm>
            <a:off x="-4377610" y="3802682"/>
            <a:ext cx="1610693" cy="285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nb-NO" sz="921" err="1">
                <a:solidFill>
                  <a:schemeClr val="tx1"/>
                </a:solidFill>
              </a:rPr>
              <a:t>Midtstill</a:t>
            </a:r>
            <a:r>
              <a:rPr lang="nb-NO" sz="921">
                <a:solidFill>
                  <a:schemeClr val="tx1"/>
                </a:solidFill>
              </a:rPr>
              <a:t> teksten loddrett:</a:t>
            </a:r>
          </a:p>
        </p:txBody>
      </p:sp>
      <p:sp>
        <p:nvSpPr>
          <p:cNvPr id="3" name="Plassholder for tekst 7">
            <a:extLst>
              <a:ext uri="{FF2B5EF4-FFF2-40B4-BE49-F238E27FC236}">
                <a16:creationId xmlns:a16="http://schemas.microsoft.com/office/drawing/2014/main" id="{83230BAF-C573-CBF0-3247-CC03B1657A89}"/>
              </a:ext>
            </a:extLst>
          </p:cNvPr>
          <p:cNvSpPr>
            <a:spLocks noGrp="1"/>
          </p:cNvSpPr>
          <p:nvPr>
            <p:ph type="body" sz="quarter" idx="11"/>
          </p:nvPr>
        </p:nvSpPr>
        <p:spPr>
          <a:xfrm>
            <a:off x="231136" y="248595"/>
            <a:ext cx="10231132"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Klikk for å redigere tekststiler i malen</a:t>
            </a:r>
          </a:p>
        </p:txBody>
      </p:sp>
      <p:sp>
        <p:nvSpPr>
          <p:cNvPr id="29" name="Plassholder for bilde 13">
            <a:extLst>
              <a:ext uri="{FF2B5EF4-FFF2-40B4-BE49-F238E27FC236}">
                <a16:creationId xmlns:a16="http://schemas.microsoft.com/office/drawing/2014/main" id="{6B444DA4-0F78-9FDE-3683-94931BCC274C}"/>
              </a:ext>
            </a:extLst>
          </p:cNvPr>
          <p:cNvSpPr>
            <a:spLocks noGrp="1"/>
          </p:cNvSpPr>
          <p:nvPr>
            <p:ph type="pic" sz="quarter" idx="83" hasCustomPrompt="1"/>
          </p:nvPr>
        </p:nvSpPr>
        <p:spPr>
          <a:xfrm>
            <a:off x="2836531" y="1719011"/>
            <a:ext cx="2415488" cy="2419508"/>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0" name="Plassholder for bilde 13">
            <a:extLst>
              <a:ext uri="{FF2B5EF4-FFF2-40B4-BE49-F238E27FC236}">
                <a16:creationId xmlns:a16="http://schemas.microsoft.com/office/drawing/2014/main" id="{9EA2B1EA-D4DC-CCB0-F0B0-9850F5DCEDE9}"/>
              </a:ext>
            </a:extLst>
          </p:cNvPr>
          <p:cNvSpPr>
            <a:spLocks noGrp="1"/>
          </p:cNvSpPr>
          <p:nvPr>
            <p:ph type="pic" sz="quarter" idx="84" hasCustomPrompt="1"/>
          </p:nvPr>
        </p:nvSpPr>
        <p:spPr>
          <a:xfrm>
            <a:off x="5441383" y="1719011"/>
            <a:ext cx="2415488" cy="2419508"/>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1" name="Plassholder for bilde 13">
            <a:extLst>
              <a:ext uri="{FF2B5EF4-FFF2-40B4-BE49-F238E27FC236}">
                <a16:creationId xmlns:a16="http://schemas.microsoft.com/office/drawing/2014/main" id="{39D4FAD1-A73F-A0E6-73B0-ED14516C3EDC}"/>
              </a:ext>
            </a:extLst>
          </p:cNvPr>
          <p:cNvSpPr>
            <a:spLocks noGrp="1"/>
          </p:cNvSpPr>
          <p:nvPr>
            <p:ph type="pic" sz="quarter" idx="85" hasCustomPrompt="1"/>
          </p:nvPr>
        </p:nvSpPr>
        <p:spPr>
          <a:xfrm>
            <a:off x="8046234" y="1719011"/>
            <a:ext cx="2415488" cy="2419508"/>
          </a:xfrm>
          <a:prstGeom prst="roundRect">
            <a:avLst>
              <a:gd name="adj" fmla="val 3573"/>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6" name="Plassholder for innhold 12">
            <a:extLst>
              <a:ext uri="{FF2B5EF4-FFF2-40B4-BE49-F238E27FC236}">
                <a16:creationId xmlns:a16="http://schemas.microsoft.com/office/drawing/2014/main" id="{51A3D28E-E99E-DF28-30FB-8BE4776027E9}"/>
              </a:ext>
            </a:extLst>
          </p:cNvPr>
          <p:cNvSpPr>
            <a:spLocks noGrp="1"/>
          </p:cNvSpPr>
          <p:nvPr>
            <p:ph sz="quarter" idx="86"/>
          </p:nvPr>
        </p:nvSpPr>
        <p:spPr>
          <a:xfrm>
            <a:off x="2836531" y="4376702"/>
            <a:ext cx="2415488" cy="2699394"/>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37" name="Plassholder for innhold 3">
            <a:extLst>
              <a:ext uri="{FF2B5EF4-FFF2-40B4-BE49-F238E27FC236}">
                <a16:creationId xmlns:a16="http://schemas.microsoft.com/office/drawing/2014/main" id="{007C3DCC-C3FD-72E0-2766-D5DEE6F35528}"/>
              </a:ext>
            </a:extLst>
          </p:cNvPr>
          <p:cNvSpPr>
            <a:spLocks noGrp="1"/>
          </p:cNvSpPr>
          <p:nvPr>
            <p:ph sz="quarter" idx="87"/>
          </p:nvPr>
        </p:nvSpPr>
        <p:spPr>
          <a:xfrm>
            <a:off x="2836531" y="4376718"/>
            <a:ext cx="2415488" cy="2699394"/>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2" name="Plassholder for innhold 12">
            <a:extLst>
              <a:ext uri="{FF2B5EF4-FFF2-40B4-BE49-F238E27FC236}">
                <a16:creationId xmlns:a16="http://schemas.microsoft.com/office/drawing/2014/main" id="{CE6CD79B-7004-B21D-1088-D82B449C9E59}"/>
              </a:ext>
            </a:extLst>
          </p:cNvPr>
          <p:cNvSpPr>
            <a:spLocks noGrp="1"/>
          </p:cNvSpPr>
          <p:nvPr>
            <p:ph sz="quarter" idx="88"/>
          </p:nvPr>
        </p:nvSpPr>
        <p:spPr>
          <a:xfrm>
            <a:off x="5441383" y="4376702"/>
            <a:ext cx="2415488" cy="2699394"/>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43" name="Plassholder for innhold 3">
            <a:extLst>
              <a:ext uri="{FF2B5EF4-FFF2-40B4-BE49-F238E27FC236}">
                <a16:creationId xmlns:a16="http://schemas.microsoft.com/office/drawing/2014/main" id="{2ABD5D43-EA97-3DA5-79BD-7C437E6B9085}"/>
              </a:ext>
            </a:extLst>
          </p:cNvPr>
          <p:cNvSpPr>
            <a:spLocks noGrp="1"/>
          </p:cNvSpPr>
          <p:nvPr>
            <p:ph sz="quarter" idx="89"/>
          </p:nvPr>
        </p:nvSpPr>
        <p:spPr>
          <a:xfrm>
            <a:off x="5441383" y="4376718"/>
            <a:ext cx="2415488" cy="2699394"/>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4" name="Plassholder for innhold 12">
            <a:extLst>
              <a:ext uri="{FF2B5EF4-FFF2-40B4-BE49-F238E27FC236}">
                <a16:creationId xmlns:a16="http://schemas.microsoft.com/office/drawing/2014/main" id="{9430AB8D-5855-78BA-C506-E2B2326DF63B}"/>
              </a:ext>
            </a:extLst>
          </p:cNvPr>
          <p:cNvSpPr>
            <a:spLocks noGrp="1"/>
          </p:cNvSpPr>
          <p:nvPr>
            <p:ph sz="quarter" idx="90"/>
          </p:nvPr>
        </p:nvSpPr>
        <p:spPr>
          <a:xfrm>
            <a:off x="8046234" y="4376702"/>
            <a:ext cx="2415488" cy="2699394"/>
          </a:xfrm>
          <a:prstGeom prst="roundRect">
            <a:avLst>
              <a:gd name="adj" fmla="val 2084"/>
            </a:avLst>
          </a:prstGeom>
          <a:solidFill>
            <a:srgbClr val="EFE6FF"/>
          </a:solidFill>
        </p:spPr>
        <p:txBody>
          <a:bodyPr lIns="180000" tIns="180000" rIns="180000" bIns="180000"/>
          <a:lstStyle>
            <a:lvl1pPr marL="0" indent="0">
              <a:buNone/>
              <a:defRPr sz="100">
                <a:solidFill>
                  <a:schemeClr val="accent5"/>
                </a:solidFill>
              </a:defRPr>
            </a:lvl1pPr>
          </a:lstStyle>
          <a:p>
            <a:pPr lvl="0"/>
            <a:r>
              <a:rPr lang="nb-NO"/>
              <a:t>Klikk for å redigere tekststiler i malen</a:t>
            </a:r>
          </a:p>
        </p:txBody>
      </p:sp>
      <p:sp>
        <p:nvSpPr>
          <p:cNvPr id="45" name="Plassholder for innhold 3">
            <a:extLst>
              <a:ext uri="{FF2B5EF4-FFF2-40B4-BE49-F238E27FC236}">
                <a16:creationId xmlns:a16="http://schemas.microsoft.com/office/drawing/2014/main" id="{8D773AE4-8481-AFA0-BE42-C521C3D6A07A}"/>
              </a:ext>
            </a:extLst>
          </p:cNvPr>
          <p:cNvSpPr>
            <a:spLocks noGrp="1"/>
          </p:cNvSpPr>
          <p:nvPr>
            <p:ph sz="quarter" idx="91"/>
          </p:nvPr>
        </p:nvSpPr>
        <p:spPr>
          <a:xfrm>
            <a:off x="8046234" y="4376718"/>
            <a:ext cx="2415488" cy="2699394"/>
          </a:xfrm>
          <a:prstGeom prst="rect">
            <a:avLst/>
          </a:prstGeom>
        </p:spPr>
        <p:txBody>
          <a:bodyPr lIns="72000" tIns="36000" rIns="36000" bIns="36000"/>
          <a:lstStyle>
            <a:lvl1pPr marL="0" indent="0">
              <a:lnSpc>
                <a:spcPct val="105000"/>
              </a:lnSpc>
              <a:spcBef>
                <a:spcPts val="0"/>
              </a:spcBef>
              <a:buNone/>
              <a:defRPr sz="1140"/>
            </a:lvl1pPr>
            <a:lvl2pPr marL="347332" indent="-126302">
              <a:lnSpc>
                <a:spcPct val="105000"/>
              </a:lnSpc>
              <a:spcBef>
                <a:spcPts val="0"/>
              </a:spcBef>
              <a:defRPr sz="1140"/>
            </a:lvl2pPr>
            <a:lvl3pPr marL="568361" indent="-126302">
              <a:lnSpc>
                <a:spcPct val="105000"/>
              </a:lnSpc>
              <a:spcBef>
                <a:spcPts val="0"/>
              </a:spcBef>
              <a:defRPr sz="1140"/>
            </a:lvl3pPr>
            <a:lvl4pPr marL="789390" indent="-126302">
              <a:lnSpc>
                <a:spcPct val="105000"/>
              </a:lnSpc>
              <a:spcBef>
                <a:spcPts val="0"/>
              </a:spcBef>
              <a:defRPr sz="1140"/>
            </a:lvl4pPr>
            <a:lvl5pPr marL="1010419" indent="-126302">
              <a:lnSpc>
                <a:spcPct val="105000"/>
              </a:lnSpc>
              <a:spcBef>
                <a:spcPts val="0"/>
              </a:spcBef>
              <a:defRPr sz="11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00287445"/>
      </p:ext>
    </p:extLst>
  </p:cSld>
  <p:clrMapOvr>
    <a:masterClrMapping/>
  </p:clrMapOvr>
  <p:extLst>
    <p:ext uri="{DCECCB84-F9BA-43D5-87BE-67443E8EF086}">
      <p15:sldGuideLst xmlns:p15="http://schemas.microsoft.com/office/powerpoint/2012/main">
        <p15:guide id="1" orient="horz" pos="2364">
          <p15:clr>
            <a:srgbClr val="FBAE40"/>
          </p15:clr>
        </p15:guide>
        <p15:guide id="2" orient="horz" pos="25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V (utfyllen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DEB80B0-8328-178C-2F1C-B54803281C2E}"/>
              </a:ext>
            </a:extLst>
          </p:cNvPr>
          <p:cNvGraphicFramePr>
            <a:graphicFrameLocks noChangeAspect="1"/>
          </p:cNvGraphicFramePr>
          <p:nvPr userDrawn="1">
            <p:custDataLst>
              <p:tags r:id="rId1"/>
            </p:custDataLst>
            <p:extLst>
              <p:ext uri="{D42A27DB-BD31-4B8C-83A1-F6EECF244321}">
                <p14:modId xmlns:p14="http://schemas.microsoft.com/office/powerpoint/2010/main" val="72851435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5" name="think-cell data - do not delete" hidden="1">
                        <a:extLst>
                          <a:ext uri="{FF2B5EF4-FFF2-40B4-BE49-F238E27FC236}">
                            <a16:creationId xmlns:a16="http://schemas.microsoft.com/office/drawing/2014/main" id="{6DEB80B0-8328-178C-2F1C-B54803281C2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1" name="Plassholder for innhold 12">
            <a:extLst>
              <a:ext uri="{FF2B5EF4-FFF2-40B4-BE49-F238E27FC236}">
                <a16:creationId xmlns:a16="http://schemas.microsoft.com/office/drawing/2014/main" id="{9DBB15DA-5E15-4DC6-34CF-1AAB0BF729E6}"/>
              </a:ext>
            </a:extLst>
          </p:cNvPr>
          <p:cNvSpPr>
            <a:spLocks noGrp="1"/>
          </p:cNvSpPr>
          <p:nvPr>
            <p:ph sz="quarter" idx="45" hasCustomPrompt="1"/>
          </p:nvPr>
        </p:nvSpPr>
        <p:spPr>
          <a:xfrm>
            <a:off x="231550" y="1439043"/>
            <a:ext cx="5020425" cy="5399283"/>
          </a:xfrm>
          <a:prstGeom prst="roundRect">
            <a:avLst>
              <a:gd name="adj" fmla="val 1123"/>
            </a:avLst>
          </a:prstGeom>
          <a:solidFill>
            <a:srgbClr val="ECFFA5"/>
          </a:solidFill>
        </p:spPr>
        <p:txBody>
          <a:bodyPr lIns="216000" tIns="180000" rIns="216000" bIns="216000"/>
          <a:lstStyle>
            <a:lvl1pPr marL="0" indent="0">
              <a:lnSpc>
                <a:spcPct val="105000"/>
              </a:lnSpc>
              <a:buNone/>
              <a:defRPr sz="1140"/>
            </a:lvl1pPr>
          </a:lstStyle>
          <a:p>
            <a:pPr lvl="0"/>
            <a:r>
              <a:rPr lang="nb-NO"/>
              <a:t>Fredrik har arbeidet med næringseiendom i siden 2000, hvorav i Malling siden 2010. Fredrik leder divisjonen Markets som omfatter transaksjon, utleie og leietakerrådgivning. Fredrik sitter også i styret i Malling. De siste 10 årene har Fredrik fokusert særskilt på utvikling og utleie av næringseiendom. Han har lang erfaring med å arbeide i tidligfase og være deltaker i store utviklingsprosjekter. Fredrik har gjennom dette bygget unik kunnskap om hvordan man analyserer risiko og utviklingsmuligheter ved en eiendom, hva markedet etterspør og hva som er verdidrivende.</a:t>
            </a:r>
          </a:p>
        </p:txBody>
      </p:sp>
      <p:sp>
        <p:nvSpPr>
          <p:cNvPr id="23" name="Plassholder for tekst 2">
            <a:extLst>
              <a:ext uri="{FF2B5EF4-FFF2-40B4-BE49-F238E27FC236}">
                <a16:creationId xmlns:a16="http://schemas.microsoft.com/office/drawing/2014/main" id="{E7D74C68-D647-E03F-E916-A3C360DA35A7}"/>
              </a:ext>
            </a:extLst>
          </p:cNvPr>
          <p:cNvSpPr>
            <a:spLocks noGrp="1"/>
          </p:cNvSpPr>
          <p:nvPr>
            <p:ph type="body" sz="quarter" idx="46" hasCustomPrompt="1"/>
          </p:nvPr>
        </p:nvSpPr>
        <p:spPr>
          <a:xfrm>
            <a:off x="424292" y="3905888"/>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Arbeidserfaring</a:t>
            </a:r>
          </a:p>
        </p:txBody>
      </p:sp>
      <p:sp>
        <p:nvSpPr>
          <p:cNvPr id="6" name="Plassholder for bilde 13">
            <a:extLst>
              <a:ext uri="{FF2B5EF4-FFF2-40B4-BE49-F238E27FC236}">
                <a16:creationId xmlns:a16="http://schemas.microsoft.com/office/drawing/2014/main" id="{00AF7D7A-7C68-C7B6-F8E6-C8B9A2BB7801}"/>
              </a:ext>
            </a:extLst>
          </p:cNvPr>
          <p:cNvSpPr>
            <a:spLocks noGrp="1"/>
          </p:cNvSpPr>
          <p:nvPr>
            <p:ph type="pic" sz="quarter" idx="44" hasCustomPrompt="1"/>
          </p:nvPr>
        </p:nvSpPr>
        <p:spPr>
          <a:xfrm>
            <a:off x="231550" y="248125"/>
            <a:ext cx="757822" cy="952828"/>
          </a:xfrm>
          <a:prstGeom prst="roundRect">
            <a:avLst>
              <a:gd name="adj" fmla="val 7012"/>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7" name="Plassholder for tekst 7">
            <a:extLst>
              <a:ext uri="{FF2B5EF4-FFF2-40B4-BE49-F238E27FC236}">
                <a16:creationId xmlns:a16="http://schemas.microsoft.com/office/drawing/2014/main" id="{AF4B7C62-0335-3798-AD31-6BA73770B0E9}"/>
              </a:ext>
            </a:extLst>
          </p:cNvPr>
          <p:cNvSpPr>
            <a:spLocks noGrp="1"/>
          </p:cNvSpPr>
          <p:nvPr>
            <p:ph type="body" sz="quarter" idx="11" hasCustomPrompt="1"/>
          </p:nvPr>
        </p:nvSpPr>
        <p:spPr>
          <a:xfrm>
            <a:off x="1101174" y="248595"/>
            <a:ext cx="9361093"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Navn</a:t>
            </a:r>
            <a:br>
              <a:rPr lang="nb-NO"/>
            </a:br>
            <a:r>
              <a:rPr lang="nb-NO"/>
              <a:t>Stilling/rolle</a:t>
            </a:r>
          </a:p>
        </p:txBody>
      </p:sp>
      <p:sp>
        <p:nvSpPr>
          <p:cNvPr id="8" name="Plassholder for lysbildenummer 1">
            <a:extLst>
              <a:ext uri="{FF2B5EF4-FFF2-40B4-BE49-F238E27FC236}">
                <a16:creationId xmlns:a16="http://schemas.microsoft.com/office/drawing/2014/main" id="{C28ABE27-EB33-24CA-56DA-710B6409C904}"/>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9" name="TekstSylinder 8">
            <a:extLst>
              <a:ext uri="{FF2B5EF4-FFF2-40B4-BE49-F238E27FC236}">
                <a16:creationId xmlns:a16="http://schemas.microsoft.com/office/drawing/2014/main" id="{6B4D9ED2-AD52-B85B-B6FF-DECA93C748BF}"/>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12" name="Plassholder for tekst 4">
            <a:extLst>
              <a:ext uri="{FF2B5EF4-FFF2-40B4-BE49-F238E27FC236}">
                <a16:creationId xmlns:a16="http://schemas.microsoft.com/office/drawing/2014/main" id="{C9A8DE82-59C2-EA5C-3E37-5187CDA3586A}"/>
              </a:ext>
            </a:extLst>
          </p:cNvPr>
          <p:cNvSpPr>
            <a:spLocks noGrp="1"/>
          </p:cNvSpPr>
          <p:nvPr>
            <p:ph type="body" sz="quarter" idx="14" hasCustomPrompt="1"/>
          </p:nvPr>
        </p:nvSpPr>
        <p:spPr>
          <a:xfrm>
            <a:off x="5441383" y="1439042"/>
            <a:ext cx="5020425" cy="5399036"/>
          </a:xfrm>
          <a:prstGeom prst="rect">
            <a:avLst/>
          </a:prstGeom>
        </p:spPr>
        <p:txBody>
          <a:bodyPr lIns="0" tIns="0" rIns="0" bIns="0"/>
          <a:lstStyle>
            <a:lvl1pPr marL="0" indent="0">
              <a:lnSpc>
                <a:spcPct val="105000"/>
              </a:lnSpc>
              <a:buNone/>
              <a:defRPr sz="1140">
                <a:latin typeface="Fold Grotesque Pro Light" panose="020B0303030201040103" pitchFamily="34" charset="0"/>
              </a:defRPr>
            </a:lvl1pPr>
            <a:lvl2pPr marL="347332" indent="-126302">
              <a:lnSpc>
                <a:spcPct val="105000"/>
              </a:lnSpc>
              <a:defRPr sz="1140">
                <a:latin typeface="Fold Grotesque Pro Light" panose="020B0303030201040103" pitchFamily="34" charset="0"/>
              </a:defRPr>
            </a:lvl2pPr>
            <a:lvl3pPr marL="568361" indent="-126302">
              <a:lnSpc>
                <a:spcPct val="105000"/>
              </a:lnSpc>
              <a:defRPr sz="1140">
                <a:latin typeface="Fold Grotesque Pro Light" panose="020B0303030201040103" pitchFamily="34" charset="0"/>
              </a:defRPr>
            </a:lvl3pPr>
            <a:lvl4pPr marL="789390" indent="-126302">
              <a:lnSpc>
                <a:spcPct val="105000"/>
              </a:lnSpc>
              <a:defRPr sz="1140">
                <a:latin typeface="Fold Grotesque Pro Light" panose="020B0303030201040103" pitchFamily="34" charset="0"/>
              </a:defRPr>
            </a:lvl4pPr>
            <a:lvl5pPr marL="1010419" indent="-126302">
              <a:lnSpc>
                <a:spcPct val="105000"/>
              </a:lnSpc>
              <a:defRPr sz="1140">
                <a:latin typeface="Fold Grotesque Pro Light" panose="020B0303030201040103" pitchFamily="34" charset="0"/>
              </a:defRPr>
            </a:lvl5pPr>
          </a:lstStyle>
          <a:p>
            <a:pPr lvl="0"/>
            <a:r>
              <a:rPr lang="nb-NO"/>
              <a:t>Fredrik har arbeidet med eiendom i 25 år, hvorav de siste 22 årene med næringseiendom. Han har bred erfaring som strategisk rådgiver og megler innen utvikling, konseptualisering, utleie, kjøp og salg av næringseiendom. Siden 2009 har han også hatt sentrale lederposisjoner i selskapene han har arbeidet i. Fredrik sitter også i styret i Eiendomshuset Malling &amp; Co.</a:t>
            </a:r>
            <a:br>
              <a:rPr lang="nb-NO"/>
            </a:br>
            <a:br>
              <a:rPr lang="nb-NO"/>
            </a:br>
            <a:r>
              <a:rPr lang="nb-NO"/>
              <a:t>I tillegg til å lede Malling &amp; Co Markets er han operativ megler og strategisk rådgiver med ansvar for egne oppdrag. Fredrik jobber gjerne på tvers av avdelingene i selskapet og i samarbeid med andre kollegaer. De siste 10 årene har han fokusert særskilt på utvikling og utleie av større og komplekse utviklingsprosjekter med hovedvekt på kontor i Oslo og omegn. Samlet utgjør disse prosjektene over 600.000 kvm som inkluderer bl.a. prosjekter som Construction City, </a:t>
            </a:r>
            <a:r>
              <a:rPr lang="nb-NO" err="1"/>
              <a:t>Tullinkvartalet</a:t>
            </a:r>
            <a:r>
              <a:rPr lang="nb-NO"/>
              <a:t>, Oslo City, Kongensgate 21, Økern Portal, Urtekvartalet og </a:t>
            </a:r>
            <a:r>
              <a:rPr lang="nb-NO" err="1"/>
              <a:t>Sundtkvartalet</a:t>
            </a:r>
            <a:r>
              <a:rPr lang="nb-NO"/>
              <a:t> .</a:t>
            </a:r>
            <a:br>
              <a:rPr lang="nb-NO"/>
            </a:br>
            <a:br>
              <a:rPr lang="nb-NO"/>
            </a:br>
            <a:r>
              <a:rPr lang="nb-NO"/>
              <a:t>Gjennom sitt arbeide har Fredrik utviklet en unik kompetanse og erfaring i forhold til livssyklusen og verdikjeden i næringseiendom. Han har lang erfaring med å arbeide i tidligfase og være deltaker i store prosjekter som inkluderer alle faggrupper. Fredrik har gjennom dette lært og bygget mye kunnskap om hvordan man analyserer risiko og utviklingsmuligheter ved en eiendom, hva markedet etterspør og hva som er verdiskapende. </a:t>
            </a:r>
          </a:p>
        </p:txBody>
      </p:sp>
      <p:sp>
        <p:nvSpPr>
          <p:cNvPr id="18" name="Plassholder for tekst 2">
            <a:extLst>
              <a:ext uri="{FF2B5EF4-FFF2-40B4-BE49-F238E27FC236}">
                <a16:creationId xmlns:a16="http://schemas.microsoft.com/office/drawing/2014/main" id="{5EA9AF0B-08F4-07D4-A893-4E255A72B97B}"/>
              </a:ext>
            </a:extLst>
          </p:cNvPr>
          <p:cNvSpPr>
            <a:spLocks noGrp="1"/>
          </p:cNvSpPr>
          <p:nvPr>
            <p:ph type="body" sz="quarter" idx="24" hasCustomPrompt="1"/>
          </p:nvPr>
        </p:nvSpPr>
        <p:spPr>
          <a:xfrm>
            <a:off x="424292" y="4214748"/>
            <a:ext cx="1543127"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19" name="Plassholder for tekst 2">
            <a:extLst>
              <a:ext uri="{FF2B5EF4-FFF2-40B4-BE49-F238E27FC236}">
                <a16:creationId xmlns:a16="http://schemas.microsoft.com/office/drawing/2014/main" id="{4760882D-8656-DA5C-073A-553306E915F4}"/>
              </a:ext>
            </a:extLst>
          </p:cNvPr>
          <p:cNvSpPr>
            <a:spLocks noGrp="1"/>
          </p:cNvSpPr>
          <p:nvPr>
            <p:ph type="body" sz="quarter" idx="25" hasCustomPrompt="1"/>
          </p:nvPr>
        </p:nvSpPr>
        <p:spPr>
          <a:xfrm>
            <a:off x="2160161" y="4214748"/>
            <a:ext cx="1826250"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20" name="Plassholder for tekst 2">
            <a:extLst>
              <a:ext uri="{FF2B5EF4-FFF2-40B4-BE49-F238E27FC236}">
                <a16:creationId xmlns:a16="http://schemas.microsoft.com/office/drawing/2014/main" id="{2842A330-94E7-FE52-34A4-4F3175DD7BF0}"/>
              </a:ext>
            </a:extLst>
          </p:cNvPr>
          <p:cNvSpPr>
            <a:spLocks noGrp="1"/>
          </p:cNvSpPr>
          <p:nvPr>
            <p:ph type="body" sz="quarter" idx="26" hasCustomPrompt="1"/>
          </p:nvPr>
        </p:nvSpPr>
        <p:spPr>
          <a:xfrm>
            <a:off x="4130578" y="4214748"/>
            <a:ext cx="929203" cy="227306"/>
          </a:xfrm>
          <a:prstGeom prst="rect">
            <a:avLst/>
          </a:prstGeom>
          <a:noFill/>
        </p:spPr>
        <p:txBody>
          <a:bodyPr wrap="square" lIns="0" rIns="0" rtlCol="0">
            <a:spAutoFit/>
          </a:bodyPr>
          <a:lstStyle>
            <a:lvl1pPr marL="0" indent="0" algn="r">
              <a:lnSpc>
                <a:spcPct val="100000"/>
              </a:lnSpc>
              <a:spcBef>
                <a:spcPts val="526"/>
              </a:spcBef>
              <a:buNone/>
              <a:defRPr lang="nb-NO" sz="877" dirty="0">
                <a:latin typeface="+mj-lt"/>
              </a:defRPr>
            </a:lvl1pPr>
          </a:lstStyle>
          <a:p>
            <a:pPr marL="0" lvl="0"/>
            <a:r>
              <a:rPr lang="nb-NO"/>
              <a:t>År</a:t>
            </a:r>
          </a:p>
        </p:txBody>
      </p:sp>
      <p:sp>
        <p:nvSpPr>
          <p:cNvPr id="24" name="Plassholder for tekst 2">
            <a:extLst>
              <a:ext uri="{FF2B5EF4-FFF2-40B4-BE49-F238E27FC236}">
                <a16:creationId xmlns:a16="http://schemas.microsoft.com/office/drawing/2014/main" id="{0CA60119-941A-46B9-5F07-413D1DD8AF71}"/>
              </a:ext>
            </a:extLst>
          </p:cNvPr>
          <p:cNvSpPr>
            <a:spLocks noGrp="1"/>
          </p:cNvSpPr>
          <p:nvPr>
            <p:ph type="body" sz="quarter" idx="47" hasCustomPrompt="1"/>
          </p:nvPr>
        </p:nvSpPr>
        <p:spPr>
          <a:xfrm>
            <a:off x="424292" y="5598719"/>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Utdanning</a:t>
            </a:r>
          </a:p>
        </p:txBody>
      </p:sp>
      <p:sp>
        <p:nvSpPr>
          <p:cNvPr id="25" name="Plassholder for tekst 2">
            <a:extLst>
              <a:ext uri="{FF2B5EF4-FFF2-40B4-BE49-F238E27FC236}">
                <a16:creationId xmlns:a16="http://schemas.microsoft.com/office/drawing/2014/main" id="{F3ED0800-8A8E-8510-5479-ABFB0D75E7E2}"/>
              </a:ext>
            </a:extLst>
          </p:cNvPr>
          <p:cNvSpPr>
            <a:spLocks noGrp="1"/>
          </p:cNvSpPr>
          <p:nvPr>
            <p:ph type="body" sz="quarter" idx="48" hasCustomPrompt="1"/>
          </p:nvPr>
        </p:nvSpPr>
        <p:spPr>
          <a:xfrm>
            <a:off x="424292" y="5907579"/>
            <a:ext cx="1543127"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26" name="Plassholder for tekst 2">
            <a:extLst>
              <a:ext uri="{FF2B5EF4-FFF2-40B4-BE49-F238E27FC236}">
                <a16:creationId xmlns:a16="http://schemas.microsoft.com/office/drawing/2014/main" id="{58731900-43B0-0722-7414-9600EB8273E7}"/>
              </a:ext>
            </a:extLst>
          </p:cNvPr>
          <p:cNvSpPr>
            <a:spLocks noGrp="1"/>
          </p:cNvSpPr>
          <p:nvPr>
            <p:ph type="body" sz="quarter" idx="49" hasCustomPrompt="1"/>
          </p:nvPr>
        </p:nvSpPr>
        <p:spPr>
          <a:xfrm>
            <a:off x="2160161" y="5907579"/>
            <a:ext cx="1826250"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27" name="Plassholder for tekst 2">
            <a:extLst>
              <a:ext uri="{FF2B5EF4-FFF2-40B4-BE49-F238E27FC236}">
                <a16:creationId xmlns:a16="http://schemas.microsoft.com/office/drawing/2014/main" id="{C950B1D6-DF11-D532-E105-465A74DE4C66}"/>
              </a:ext>
            </a:extLst>
          </p:cNvPr>
          <p:cNvSpPr>
            <a:spLocks noGrp="1"/>
          </p:cNvSpPr>
          <p:nvPr>
            <p:ph type="body" sz="quarter" idx="50" hasCustomPrompt="1"/>
          </p:nvPr>
        </p:nvSpPr>
        <p:spPr>
          <a:xfrm>
            <a:off x="4130578" y="5907579"/>
            <a:ext cx="929203" cy="227306"/>
          </a:xfrm>
          <a:prstGeom prst="rect">
            <a:avLst/>
          </a:prstGeom>
          <a:noFill/>
        </p:spPr>
        <p:txBody>
          <a:bodyPr wrap="square" lIns="0" rIns="0" rtlCol="0">
            <a:spAutoFit/>
          </a:bodyPr>
          <a:lstStyle>
            <a:lvl1pPr marL="0" indent="0" algn="r">
              <a:lnSpc>
                <a:spcPct val="100000"/>
              </a:lnSpc>
              <a:spcBef>
                <a:spcPts val="526"/>
              </a:spcBef>
              <a:buFontTx/>
              <a:buNone/>
              <a:defRPr lang="nb-NO" sz="877" dirty="0">
                <a:latin typeface="+mj-lt"/>
              </a:defRPr>
            </a:lvl1pPr>
          </a:lstStyle>
          <a:p>
            <a:pPr marL="0" lvl="0"/>
            <a:r>
              <a:rPr lang="nb-NO"/>
              <a:t>År</a:t>
            </a:r>
          </a:p>
        </p:txBody>
      </p:sp>
    </p:spTree>
    <p:extLst>
      <p:ext uri="{BB962C8B-B14F-4D97-AF65-F5344CB8AC3E}">
        <p14:creationId xmlns:p14="http://schemas.microsoft.com/office/powerpoint/2010/main" val="201801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V dobbel (kort)">
    <p:spTree>
      <p:nvGrpSpPr>
        <p:cNvPr id="1" name=""/>
        <p:cNvGrpSpPr/>
        <p:nvPr/>
      </p:nvGrpSpPr>
      <p:grpSpPr>
        <a:xfrm>
          <a:off x="0" y="0"/>
          <a:ext cx="0" cy="0"/>
          <a:chOff x="0" y="0"/>
          <a:chExt cx="0" cy="0"/>
        </a:xfrm>
      </p:grpSpPr>
      <p:sp>
        <p:nvSpPr>
          <p:cNvPr id="8" name="Plassholder for lysbildenummer 1">
            <a:extLst>
              <a:ext uri="{FF2B5EF4-FFF2-40B4-BE49-F238E27FC236}">
                <a16:creationId xmlns:a16="http://schemas.microsoft.com/office/drawing/2014/main" id="{C28ABE27-EB33-24CA-56DA-710B6409C904}"/>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9" name="TekstSylinder 8">
            <a:extLst>
              <a:ext uri="{FF2B5EF4-FFF2-40B4-BE49-F238E27FC236}">
                <a16:creationId xmlns:a16="http://schemas.microsoft.com/office/drawing/2014/main" id="{6B4D9ED2-AD52-B85B-B6FF-DECA93C748BF}"/>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
        <p:nvSpPr>
          <p:cNvPr id="4" name="Plassholder for innhold 12">
            <a:extLst>
              <a:ext uri="{FF2B5EF4-FFF2-40B4-BE49-F238E27FC236}">
                <a16:creationId xmlns:a16="http://schemas.microsoft.com/office/drawing/2014/main" id="{773F71DB-9495-B059-70DD-0248008B0877}"/>
              </a:ext>
            </a:extLst>
          </p:cNvPr>
          <p:cNvSpPr>
            <a:spLocks noGrp="1"/>
          </p:cNvSpPr>
          <p:nvPr>
            <p:ph sz="quarter" idx="45" hasCustomPrompt="1"/>
          </p:nvPr>
        </p:nvSpPr>
        <p:spPr>
          <a:xfrm>
            <a:off x="231550" y="1439043"/>
            <a:ext cx="5020425" cy="5399283"/>
          </a:xfrm>
          <a:prstGeom prst="roundRect">
            <a:avLst>
              <a:gd name="adj" fmla="val 1123"/>
            </a:avLst>
          </a:prstGeom>
          <a:solidFill>
            <a:srgbClr val="ECFFA5"/>
          </a:solidFill>
        </p:spPr>
        <p:txBody>
          <a:bodyPr lIns="216000" tIns="180000" rIns="216000" bIns="216000"/>
          <a:lstStyle>
            <a:lvl1pPr marL="0" indent="0">
              <a:lnSpc>
                <a:spcPct val="105000"/>
              </a:lnSpc>
              <a:buNone/>
              <a:defRPr sz="1140"/>
            </a:lvl1pPr>
          </a:lstStyle>
          <a:p>
            <a:pPr lvl="0"/>
            <a:r>
              <a:rPr lang="nb-NO"/>
              <a:t>Fredrik har arbeidet med næringseiendom i siden 2000, hvorav i Malling siden 2010. Fredrik leder divisjonen Markets som omfatter transaksjon, utleie og leietakerrådgivning. Fredrik sitter også i styret i Malling. De siste 10 årene har Fredrik fokusert særskilt på utvikling og utleie av næringseiendom. Han har lang erfaring med å arbeide i tidligfase og være deltaker i store utviklingsprosjekter. Fredrik har gjennom dette bygget unik kunnskap om hvordan man analyserer risiko og utviklingsmuligheter ved en eiendom, hva markedet etterspør og hva som er verdidrivende.</a:t>
            </a:r>
          </a:p>
        </p:txBody>
      </p:sp>
      <p:sp>
        <p:nvSpPr>
          <p:cNvPr id="5" name="Plassholder for tekst 2">
            <a:extLst>
              <a:ext uri="{FF2B5EF4-FFF2-40B4-BE49-F238E27FC236}">
                <a16:creationId xmlns:a16="http://schemas.microsoft.com/office/drawing/2014/main" id="{7F70CF13-7EA7-4DE1-DD3E-71826C60996A}"/>
              </a:ext>
            </a:extLst>
          </p:cNvPr>
          <p:cNvSpPr>
            <a:spLocks noGrp="1"/>
          </p:cNvSpPr>
          <p:nvPr>
            <p:ph type="body" sz="quarter" idx="46" hasCustomPrompt="1"/>
          </p:nvPr>
        </p:nvSpPr>
        <p:spPr>
          <a:xfrm>
            <a:off x="424292" y="3905888"/>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Arbeidserfaring</a:t>
            </a:r>
          </a:p>
        </p:txBody>
      </p:sp>
      <p:sp>
        <p:nvSpPr>
          <p:cNvPr id="10" name="Plassholder for tekst 2">
            <a:extLst>
              <a:ext uri="{FF2B5EF4-FFF2-40B4-BE49-F238E27FC236}">
                <a16:creationId xmlns:a16="http://schemas.microsoft.com/office/drawing/2014/main" id="{83030C39-6818-B8D0-F34A-E0A243F9915D}"/>
              </a:ext>
            </a:extLst>
          </p:cNvPr>
          <p:cNvSpPr>
            <a:spLocks noGrp="1"/>
          </p:cNvSpPr>
          <p:nvPr>
            <p:ph type="body" sz="quarter" idx="24" hasCustomPrompt="1"/>
          </p:nvPr>
        </p:nvSpPr>
        <p:spPr>
          <a:xfrm>
            <a:off x="424292" y="4214748"/>
            <a:ext cx="1543127"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12" name="Plassholder for tekst 2">
            <a:extLst>
              <a:ext uri="{FF2B5EF4-FFF2-40B4-BE49-F238E27FC236}">
                <a16:creationId xmlns:a16="http://schemas.microsoft.com/office/drawing/2014/main" id="{75898EA8-C576-29DB-7FBF-B3741D83CD27}"/>
              </a:ext>
            </a:extLst>
          </p:cNvPr>
          <p:cNvSpPr>
            <a:spLocks noGrp="1"/>
          </p:cNvSpPr>
          <p:nvPr>
            <p:ph type="body" sz="quarter" idx="25" hasCustomPrompt="1"/>
          </p:nvPr>
        </p:nvSpPr>
        <p:spPr>
          <a:xfrm>
            <a:off x="2160161" y="4214748"/>
            <a:ext cx="1826250"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13" name="Plassholder for tekst 2">
            <a:extLst>
              <a:ext uri="{FF2B5EF4-FFF2-40B4-BE49-F238E27FC236}">
                <a16:creationId xmlns:a16="http://schemas.microsoft.com/office/drawing/2014/main" id="{8389D3B3-AC31-8249-4074-C3183617B7BA}"/>
              </a:ext>
            </a:extLst>
          </p:cNvPr>
          <p:cNvSpPr>
            <a:spLocks noGrp="1"/>
          </p:cNvSpPr>
          <p:nvPr>
            <p:ph type="body" sz="quarter" idx="26" hasCustomPrompt="1"/>
          </p:nvPr>
        </p:nvSpPr>
        <p:spPr>
          <a:xfrm>
            <a:off x="4130578" y="4214748"/>
            <a:ext cx="929203" cy="227306"/>
          </a:xfrm>
          <a:prstGeom prst="rect">
            <a:avLst/>
          </a:prstGeom>
          <a:noFill/>
        </p:spPr>
        <p:txBody>
          <a:bodyPr wrap="square" lIns="0" rIns="0" rtlCol="0">
            <a:spAutoFit/>
          </a:bodyPr>
          <a:lstStyle>
            <a:lvl1pPr marL="0" indent="0" algn="r">
              <a:lnSpc>
                <a:spcPct val="100000"/>
              </a:lnSpc>
              <a:spcBef>
                <a:spcPts val="526"/>
              </a:spcBef>
              <a:buNone/>
              <a:defRPr lang="nb-NO" sz="877" dirty="0">
                <a:latin typeface="+mj-lt"/>
              </a:defRPr>
            </a:lvl1pPr>
          </a:lstStyle>
          <a:p>
            <a:pPr marL="0" lvl="0"/>
            <a:r>
              <a:rPr lang="nb-NO"/>
              <a:t>År</a:t>
            </a:r>
          </a:p>
        </p:txBody>
      </p:sp>
      <p:sp>
        <p:nvSpPr>
          <p:cNvPr id="14" name="Plassholder for tekst 2">
            <a:extLst>
              <a:ext uri="{FF2B5EF4-FFF2-40B4-BE49-F238E27FC236}">
                <a16:creationId xmlns:a16="http://schemas.microsoft.com/office/drawing/2014/main" id="{D3AB4153-BB2A-8CDB-6F8A-7F87C4D44B7E}"/>
              </a:ext>
            </a:extLst>
          </p:cNvPr>
          <p:cNvSpPr>
            <a:spLocks noGrp="1"/>
          </p:cNvSpPr>
          <p:nvPr>
            <p:ph type="body" sz="quarter" idx="47" hasCustomPrompt="1"/>
          </p:nvPr>
        </p:nvSpPr>
        <p:spPr>
          <a:xfrm>
            <a:off x="424292" y="5598719"/>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Utdanning</a:t>
            </a:r>
          </a:p>
        </p:txBody>
      </p:sp>
      <p:sp>
        <p:nvSpPr>
          <p:cNvPr id="15" name="Plassholder for tekst 2">
            <a:extLst>
              <a:ext uri="{FF2B5EF4-FFF2-40B4-BE49-F238E27FC236}">
                <a16:creationId xmlns:a16="http://schemas.microsoft.com/office/drawing/2014/main" id="{FC423DAB-861A-DE2F-0549-9344CAC6C004}"/>
              </a:ext>
            </a:extLst>
          </p:cNvPr>
          <p:cNvSpPr>
            <a:spLocks noGrp="1"/>
          </p:cNvSpPr>
          <p:nvPr>
            <p:ph type="body" sz="quarter" idx="48" hasCustomPrompt="1"/>
          </p:nvPr>
        </p:nvSpPr>
        <p:spPr>
          <a:xfrm>
            <a:off x="424292" y="5907579"/>
            <a:ext cx="1543127"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16" name="Plassholder for tekst 2">
            <a:extLst>
              <a:ext uri="{FF2B5EF4-FFF2-40B4-BE49-F238E27FC236}">
                <a16:creationId xmlns:a16="http://schemas.microsoft.com/office/drawing/2014/main" id="{D2BAD190-90E2-9DF0-2EC8-625E446943E5}"/>
              </a:ext>
            </a:extLst>
          </p:cNvPr>
          <p:cNvSpPr>
            <a:spLocks noGrp="1"/>
          </p:cNvSpPr>
          <p:nvPr>
            <p:ph type="body" sz="quarter" idx="49" hasCustomPrompt="1"/>
          </p:nvPr>
        </p:nvSpPr>
        <p:spPr>
          <a:xfrm>
            <a:off x="2160161" y="5907579"/>
            <a:ext cx="1826250"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17" name="Plassholder for tekst 2">
            <a:extLst>
              <a:ext uri="{FF2B5EF4-FFF2-40B4-BE49-F238E27FC236}">
                <a16:creationId xmlns:a16="http://schemas.microsoft.com/office/drawing/2014/main" id="{60D3FAA5-3CD5-20C0-5E48-D1AB52FC07D3}"/>
              </a:ext>
            </a:extLst>
          </p:cNvPr>
          <p:cNvSpPr>
            <a:spLocks noGrp="1"/>
          </p:cNvSpPr>
          <p:nvPr>
            <p:ph type="body" sz="quarter" idx="50" hasCustomPrompt="1"/>
          </p:nvPr>
        </p:nvSpPr>
        <p:spPr>
          <a:xfrm>
            <a:off x="4130578" y="5907579"/>
            <a:ext cx="929203" cy="227306"/>
          </a:xfrm>
          <a:prstGeom prst="rect">
            <a:avLst/>
          </a:prstGeom>
          <a:noFill/>
        </p:spPr>
        <p:txBody>
          <a:bodyPr wrap="square" lIns="0" rIns="0" rtlCol="0">
            <a:spAutoFit/>
          </a:bodyPr>
          <a:lstStyle>
            <a:lvl1pPr marL="0" indent="0" algn="r">
              <a:lnSpc>
                <a:spcPct val="100000"/>
              </a:lnSpc>
              <a:spcBef>
                <a:spcPts val="526"/>
              </a:spcBef>
              <a:buFontTx/>
              <a:buNone/>
              <a:defRPr lang="nb-NO" sz="877" dirty="0">
                <a:latin typeface="+mj-lt"/>
              </a:defRPr>
            </a:lvl1pPr>
          </a:lstStyle>
          <a:p>
            <a:pPr marL="0" lvl="0"/>
            <a:r>
              <a:rPr lang="nb-NO"/>
              <a:t>År</a:t>
            </a:r>
          </a:p>
        </p:txBody>
      </p:sp>
      <p:sp>
        <p:nvSpPr>
          <p:cNvPr id="22" name="Plassholder for bilde 13">
            <a:extLst>
              <a:ext uri="{FF2B5EF4-FFF2-40B4-BE49-F238E27FC236}">
                <a16:creationId xmlns:a16="http://schemas.microsoft.com/office/drawing/2014/main" id="{8A2DB8EC-AD1D-C02F-F493-7D3451030A4A}"/>
              </a:ext>
            </a:extLst>
          </p:cNvPr>
          <p:cNvSpPr>
            <a:spLocks noGrp="1"/>
          </p:cNvSpPr>
          <p:nvPr>
            <p:ph type="pic" sz="quarter" idx="44" hasCustomPrompt="1"/>
          </p:nvPr>
        </p:nvSpPr>
        <p:spPr>
          <a:xfrm>
            <a:off x="231550" y="248125"/>
            <a:ext cx="757822" cy="952828"/>
          </a:xfrm>
          <a:prstGeom prst="roundRect">
            <a:avLst>
              <a:gd name="adj" fmla="val 7012"/>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39" name="Plassholder for tekst 7">
            <a:extLst>
              <a:ext uri="{FF2B5EF4-FFF2-40B4-BE49-F238E27FC236}">
                <a16:creationId xmlns:a16="http://schemas.microsoft.com/office/drawing/2014/main" id="{FFAD4C78-FD3A-5906-7A03-CFB85E8CF1A1}"/>
              </a:ext>
            </a:extLst>
          </p:cNvPr>
          <p:cNvSpPr>
            <a:spLocks noGrp="1"/>
          </p:cNvSpPr>
          <p:nvPr>
            <p:ph type="body" sz="quarter" idx="11" hasCustomPrompt="1"/>
          </p:nvPr>
        </p:nvSpPr>
        <p:spPr>
          <a:xfrm>
            <a:off x="1101174" y="248595"/>
            <a:ext cx="4150845"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Navn</a:t>
            </a:r>
            <a:br>
              <a:rPr lang="nb-NO"/>
            </a:br>
            <a:r>
              <a:rPr lang="nb-NO"/>
              <a:t>Stilling/rolle</a:t>
            </a:r>
          </a:p>
        </p:txBody>
      </p:sp>
      <p:sp>
        <p:nvSpPr>
          <p:cNvPr id="40" name="Plassholder for innhold 12">
            <a:extLst>
              <a:ext uri="{FF2B5EF4-FFF2-40B4-BE49-F238E27FC236}">
                <a16:creationId xmlns:a16="http://schemas.microsoft.com/office/drawing/2014/main" id="{0FA25587-59F6-6B38-3086-80D3467A9868}"/>
              </a:ext>
            </a:extLst>
          </p:cNvPr>
          <p:cNvSpPr>
            <a:spLocks noGrp="1"/>
          </p:cNvSpPr>
          <p:nvPr>
            <p:ph sz="quarter" idx="51" hasCustomPrompt="1"/>
          </p:nvPr>
        </p:nvSpPr>
        <p:spPr>
          <a:xfrm>
            <a:off x="5441842" y="1439043"/>
            <a:ext cx="5020425" cy="5399283"/>
          </a:xfrm>
          <a:prstGeom prst="roundRect">
            <a:avLst>
              <a:gd name="adj" fmla="val 1123"/>
            </a:avLst>
          </a:prstGeom>
          <a:solidFill>
            <a:srgbClr val="EFE6FF"/>
          </a:solidFill>
        </p:spPr>
        <p:txBody>
          <a:bodyPr lIns="216000" tIns="180000" rIns="216000" bIns="216000"/>
          <a:lstStyle>
            <a:lvl1pPr marL="0" indent="0">
              <a:lnSpc>
                <a:spcPct val="105000"/>
              </a:lnSpc>
              <a:buNone/>
              <a:defRPr sz="1140"/>
            </a:lvl1pPr>
          </a:lstStyle>
          <a:p>
            <a:pPr lvl="0"/>
            <a:r>
              <a:rPr lang="nb-NO"/>
              <a:t>Andreas har vært ansatt i Eiendomshuset Malling &amp; Co siden februar 2015 og er avdelingsleder for verdivurdering og rådgivning i Malling &amp; Co Research and </a:t>
            </a:r>
            <a:r>
              <a:rPr lang="nb-NO" err="1"/>
              <a:t>Valuation</a:t>
            </a:r>
            <a:r>
              <a:rPr lang="nb-NO"/>
              <a:t> AS. Andreas er både MRICS og REV sertifisert, og fungerer som oppdragsansvarlig og kontaktpunkt for selskapets kunder. </a:t>
            </a:r>
          </a:p>
        </p:txBody>
      </p:sp>
      <p:sp>
        <p:nvSpPr>
          <p:cNvPr id="41" name="Plassholder for tekst 2">
            <a:extLst>
              <a:ext uri="{FF2B5EF4-FFF2-40B4-BE49-F238E27FC236}">
                <a16:creationId xmlns:a16="http://schemas.microsoft.com/office/drawing/2014/main" id="{775AB183-F970-15CC-B5C6-A88B937F03AD}"/>
              </a:ext>
            </a:extLst>
          </p:cNvPr>
          <p:cNvSpPr>
            <a:spLocks noGrp="1"/>
          </p:cNvSpPr>
          <p:nvPr>
            <p:ph type="body" sz="quarter" idx="52" hasCustomPrompt="1"/>
          </p:nvPr>
        </p:nvSpPr>
        <p:spPr>
          <a:xfrm>
            <a:off x="5634584" y="3905888"/>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Arbeidserfaring</a:t>
            </a:r>
          </a:p>
        </p:txBody>
      </p:sp>
      <p:sp>
        <p:nvSpPr>
          <p:cNvPr id="42" name="Plassholder for tekst 2">
            <a:extLst>
              <a:ext uri="{FF2B5EF4-FFF2-40B4-BE49-F238E27FC236}">
                <a16:creationId xmlns:a16="http://schemas.microsoft.com/office/drawing/2014/main" id="{D794DA49-BA7D-E9D6-AFEB-4C5C33FC4659}"/>
              </a:ext>
            </a:extLst>
          </p:cNvPr>
          <p:cNvSpPr>
            <a:spLocks noGrp="1"/>
          </p:cNvSpPr>
          <p:nvPr>
            <p:ph type="body" sz="quarter" idx="53" hasCustomPrompt="1"/>
          </p:nvPr>
        </p:nvSpPr>
        <p:spPr>
          <a:xfrm>
            <a:off x="5634584" y="4214748"/>
            <a:ext cx="1543127"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43" name="Plassholder for tekst 2">
            <a:extLst>
              <a:ext uri="{FF2B5EF4-FFF2-40B4-BE49-F238E27FC236}">
                <a16:creationId xmlns:a16="http://schemas.microsoft.com/office/drawing/2014/main" id="{6425D4B3-1AE3-4B8C-5690-759678C65A3D}"/>
              </a:ext>
            </a:extLst>
          </p:cNvPr>
          <p:cNvSpPr>
            <a:spLocks noGrp="1"/>
          </p:cNvSpPr>
          <p:nvPr>
            <p:ph type="body" sz="quarter" idx="54" hasCustomPrompt="1"/>
          </p:nvPr>
        </p:nvSpPr>
        <p:spPr>
          <a:xfrm>
            <a:off x="7370453" y="4214748"/>
            <a:ext cx="1826250" cy="227306"/>
          </a:xfrm>
          <a:prstGeom prst="rect">
            <a:avLst/>
          </a:prstGeom>
          <a:noFill/>
        </p:spPr>
        <p:txBody>
          <a:bodyPr wrap="square" lIns="0" rIns="0" rtlCol="0">
            <a:spAutoFit/>
          </a:bodyPr>
          <a:lstStyle>
            <a:lvl1pPr marL="0" indent="0">
              <a:lnSpc>
                <a:spcPct val="100000"/>
              </a:lnSpc>
              <a:spcBef>
                <a:spcPts val="526"/>
              </a:spcBef>
              <a:buNone/>
              <a:defRPr lang="nb-NO" sz="877" dirty="0">
                <a:latin typeface="+mj-lt"/>
              </a:defRPr>
            </a:lvl1pPr>
          </a:lstStyle>
          <a:p>
            <a:pPr marL="0" lvl="0"/>
            <a:r>
              <a:rPr lang="nb-NO"/>
              <a:t>Fyll inn</a:t>
            </a:r>
          </a:p>
        </p:txBody>
      </p:sp>
      <p:sp>
        <p:nvSpPr>
          <p:cNvPr id="44" name="Plassholder for tekst 2">
            <a:extLst>
              <a:ext uri="{FF2B5EF4-FFF2-40B4-BE49-F238E27FC236}">
                <a16:creationId xmlns:a16="http://schemas.microsoft.com/office/drawing/2014/main" id="{88D77BCB-11A7-05EE-020A-2EF2986B3C2B}"/>
              </a:ext>
            </a:extLst>
          </p:cNvPr>
          <p:cNvSpPr>
            <a:spLocks noGrp="1"/>
          </p:cNvSpPr>
          <p:nvPr>
            <p:ph type="body" sz="quarter" idx="55" hasCustomPrompt="1"/>
          </p:nvPr>
        </p:nvSpPr>
        <p:spPr>
          <a:xfrm>
            <a:off x="9340870" y="4214748"/>
            <a:ext cx="929203" cy="227306"/>
          </a:xfrm>
          <a:prstGeom prst="rect">
            <a:avLst/>
          </a:prstGeom>
          <a:noFill/>
        </p:spPr>
        <p:txBody>
          <a:bodyPr wrap="square" lIns="0" rIns="0" rtlCol="0">
            <a:spAutoFit/>
          </a:bodyPr>
          <a:lstStyle>
            <a:lvl1pPr marL="0" indent="0" algn="r">
              <a:lnSpc>
                <a:spcPct val="100000"/>
              </a:lnSpc>
              <a:spcBef>
                <a:spcPts val="526"/>
              </a:spcBef>
              <a:buNone/>
              <a:defRPr lang="nb-NO" sz="877" dirty="0">
                <a:latin typeface="+mj-lt"/>
              </a:defRPr>
            </a:lvl1pPr>
          </a:lstStyle>
          <a:p>
            <a:pPr marL="0" lvl="0"/>
            <a:r>
              <a:rPr lang="nb-NO"/>
              <a:t>År</a:t>
            </a:r>
          </a:p>
        </p:txBody>
      </p:sp>
      <p:sp>
        <p:nvSpPr>
          <p:cNvPr id="45" name="Plassholder for tekst 2">
            <a:extLst>
              <a:ext uri="{FF2B5EF4-FFF2-40B4-BE49-F238E27FC236}">
                <a16:creationId xmlns:a16="http://schemas.microsoft.com/office/drawing/2014/main" id="{0B18E8B0-855B-2EAC-18BE-3AFF382598E2}"/>
              </a:ext>
            </a:extLst>
          </p:cNvPr>
          <p:cNvSpPr>
            <a:spLocks noGrp="1"/>
          </p:cNvSpPr>
          <p:nvPr>
            <p:ph type="body" sz="quarter" idx="56" hasCustomPrompt="1"/>
          </p:nvPr>
        </p:nvSpPr>
        <p:spPr>
          <a:xfrm>
            <a:off x="5634584" y="5598719"/>
            <a:ext cx="1353765" cy="305893"/>
          </a:xfrm>
          <a:prstGeom prst="rect">
            <a:avLst/>
          </a:prstGeom>
          <a:noFill/>
        </p:spPr>
        <p:txBody>
          <a:bodyPr wrap="none" lIns="0" rtlCol="0">
            <a:noAutofit/>
          </a:bodyPr>
          <a:lstStyle>
            <a:lvl1pPr marL="0" indent="0">
              <a:buNone/>
              <a:defRPr lang="nb-NO" sz="1140" dirty="0">
                <a:latin typeface="Fold Grotesque Pro Medium" panose="020B0603030201040103" pitchFamily="34" charset="0"/>
              </a:defRPr>
            </a:lvl1pPr>
          </a:lstStyle>
          <a:p>
            <a:pPr marL="0" lvl="0"/>
            <a:r>
              <a:rPr lang="nb-NO"/>
              <a:t>Utdanning</a:t>
            </a:r>
          </a:p>
        </p:txBody>
      </p:sp>
      <p:sp>
        <p:nvSpPr>
          <p:cNvPr id="46" name="Plassholder for tekst 2">
            <a:extLst>
              <a:ext uri="{FF2B5EF4-FFF2-40B4-BE49-F238E27FC236}">
                <a16:creationId xmlns:a16="http://schemas.microsoft.com/office/drawing/2014/main" id="{2EDC5EAF-3B8B-3EE5-DAB8-D64A1E3FAB2A}"/>
              </a:ext>
            </a:extLst>
          </p:cNvPr>
          <p:cNvSpPr>
            <a:spLocks noGrp="1"/>
          </p:cNvSpPr>
          <p:nvPr>
            <p:ph type="body" sz="quarter" idx="57" hasCustomPrompt="1"/>
          </p:nvPr>
        </p:nvSpPr>
        <p:spPr>
          <a:xfrm>
            <a:off x="5634584" y="5907579"/>
            <a:ext cx="1543127"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47" name="Plassholder for tekst 2">
            <a:extLst>
              <a:ext uri="{FF2B5EF4-FFF2-40B4-BE49-F238E27FC236}">
                <a16:creationId xmlns:a16="http://schemas.microsoft.com/office/drawing/2014/main" id="{3A8C2214-8551-3A7E-9E60-E90650EDEA46}"/>
              </a:ext>
            </a:extLst>
          </p:cNvPr>
          <p:cNvSpPr>
            <a:spLocks noGrp="1"/>
          </p:cNvSpPr>
          <p:nvPr>
            <p:ph type="body" sz="quarter" idx="58" hasCustomPrompt="1"/>
          </p:nvPr>
        </p:nvSpPr>
        <p:spPr>
          <a:xfrm>
            <a:off x="7370453" y="5907579"/>
            <a:ext cx="1826250" cy="227306"/>
          </a:xfrm>
          <a:prstGeom prst="rect">
            <a:avLst/>
          </a:prstGeom>
          <a:noFill/>
        </p:spPr>
        <p:txBody>
          <a:bodyPr wrap="square" lIns="0" rIns="0" rtlCol="0">
            <a:spAutoFit/>
          </a:bodyPr>
          <a:lstStyle>
            <a:lvl1pPr marL="0" indent="0">
              <a:lnSpc>
                <a:spcPct val="100000"/>
              </a:lnSpc>
              <a:spcBef>
                <a:spcPts val="526"/>
              </a:spcBef>
              <a:buFontTx/>
              <a:buNone/>
              <a:defRPr lang="nb-NO" sz="877" dirty="0">
                <a:latin typeface="+mj-lt"/>
              </a:defRPr>
            </a:lvl1pPr>
          </a:lstStyle>
          <a:p>
            <a:pPr marL="0" lvl="0"/>
            <a:r>
              <a:rPr lang="nb-NO"/>
              <a:t>Fyll inn</a:t>
            </a:r>
          </a:p>
        </p:txBody>
      </p:sp>
      <p:sp>
        <p:nvSpPr>
          <p:cNvPr id="48" name="Plassholder for tekst 2">
            <a:extLst>
              <a:ext uri="{FF2B5EF4-FFF2-40B4-BE49-F238E27FC236}">
                <a16:creationId xmlns:a16="http://schemas.microsoft.com/office/drawing/2014/main" id="{7C261557-C486-1A0D-61B4-2568F38E0B4C}"/>
              </a:ext>
            </a:extLst>
          </p:cNvPr>
          <p:cNvSpPr>
            <a:spLocks noGrp="1"/>
          </p:cNvSpPr>
          <p:nvPr>
            <p:ph type="body" sz="quarter" idx="59" hasCustomPrompt="1"/>
          </p:nvPr>
        </p:nvSpPr>
        <p:spPr>
          <a:xfrm>
            <a:off x="9340870" y="5907579"/>
            <a:ext cx="929203" cy="227306"/>
          </a:xfrm>
          <a:prstGeom prst="rect">
            <a:avLst/>
          </a:prstGeom>
          <a:noFill/>
        </p:spPr>
        <p:txBody>
          <a:bodyPr wrap="square" lIns="0" rIns="0" rtlCol="0">
            <a:spAutoFit/>
          </a:bodyPr>
          <a:lstStyle>
            <a:lvl1pPr marL="0" indent="0" algn="r">
              <a:lnSpc>
                <a:spcPct val="100000"/>
              </a:lnSpc>
              <a:spcBef>
                <a:spcPts val="526"/>
              </a:spcBef>
              <a:buFontTx/>
              <a:buNone/>
              <a:defRPr lang="nb-NO" sz="877" dirty="0">
                <a:latin typeface="+mj-lt"/>
              </a:defRPr>
            </a:lvl1pPr>
          </a:lstStyle>
          <a:p>
            <a:pPr marL="0" lvl="0"/>
            <a:r>
              <a:rPr lang="nb-NO"/>
              <a:t>År</a:t>
            </a:r>
          </a:p>
        </p:txBody>
      </p:sp>
      <p:sp>
        <p:nvSpPr>
          <p:cNvPr id="50" name="Plassholder for bilde 13">
            <a:extLst>
              <a:ext uri="{FF2B5EF4-FFF2-40B4-BE49-F238E27FC236}">
                <a16:creationId xmlns:a16="http://schemas.microsoft.com/office/drawing/2014/main" id="{C81EF543-76D2-B1D9-0B8A-750BDBD028F6}"/>
              </a:ext>
            </a:extLst>
          </p:cNvPr>
          <p:cNvSpPr>
            <a:spLocks noGrp="1"/>
          </p:cNvSpPr>
          <p:nvPr>
            <p:ph type="pic" sz="quarter" idx="60" hasCustomPrompt="1"/>
          </p:nvPr>
        </p:nvSpPr>
        <p:spPr>
          <a:xfrm>
            <a:off x="5441842" y="248125"/>
            <a:ext cx="757822" cy="952828"/>
          </a:xfrm>
          <a:prstGeom prst="roundRect">
            <a:avLst>
              <a:gd name="adj" fmla="val 7012"/>
            </a:avLst>
          </a:prstGeom>
          <a:solidFill>
            <a:schemeClr val="bg1">
              <a:lumMod val="95000"/>
            </a:schemeClr>
          </a:solidFill>
        </p:spPr>
        <p:txBody>
          <a:bodyPr wrap="square">
            <a:noAutofit/>
          </a:bodyPr>
          <a:lstStyle>
            <a:lvl1pPr marL="0" indent="0">
              <a:buNone/>
              <a:defRPr sz="1228">
                <a:solidFill>
                  <a:schemeClr val="bg1">
                    <a:lumMod val="75000"/>
                  </a:schemeClr>
                </a:solidFill>
              </a:defRPr>
            </a:lvl1pPr>
          </a:lstStyle>
          <a:p>
            <a:r>
              <a:rPr lang="nb-NO"/>
              <a:t>Bilde</a:t>
            </a:r>
            <a:endParaRPr lang="en-US"/>
          </a:p>
        </p:txBody>
      </p:sp>
      <p:sp>
        <p:nvSpPr>
          <p:cNvPr id="51" name="Plassholder for tekst 7">
            <a:extLst>
              <a:ext uri="{FF2B5EF4-FFF2-40B4-BE49-F238E27FC236}">
                <a16:creationId xmlns:a16="http://schemas.microsoft.com/office/drawing/2014/main" id="{4659770F-40D4-4BD8-89FA-44631EDACE3A}"/>
              </a:ext>
            </a:extLst>
          </p:cNvPr>
          <p:cNvSpPr>
            <a:spLocks noGrp="1"/>
          </p:cNvSpPr>
          <p:nvPr>
            <p:ph type="body" sz="quarter" idx="61" hasCustomPrompt="1"/>
          </p:nvPr>
        </p:nvSpPr>
        <p:spPr>
          <a:xfrm>
            <a:off x="6311466" y="248595"/>
            <a:ext cx="4150845" cy="952358"/>
          </a:xfrm>
          <a:prstGeom prst="rect">
            <a:avLst/>
          </a:prstGeom>
        </p:spPr>
        <p:txBody>
          <a:bodyPr lIns="0" tIns="0" rIns="0" bIns="0"/>
          <a:lstStyle>
            <a:lvl1pPr marL="0" indent="0">
              <a:lnSpc>
                <a:spcPct val="100000"/>
              </a:lnSpc>
              <a:spcBef>
                <a:spcPts val="0"/>
              </a:spcBef>
              <a:buFontTx/>
              <a:buNone/>
              <a:defRPr sz="2456">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Navn</a:t>
            </a:r>
            <a:br>
              <a:rPr lang="nb-NO"/>
            </a:br>
            <a:r>
              <a:rPr lang="nb-NO"/>
              <a:t>Stilling/rolle</a:t>
            </a:r>
          </a:p>
        </p:txBody>
      </p:sp>
    </p:spTree>
    <p:extLst>
      <p:ext uri="{BB962C8B-B14F-4D97-AF65-F5344CB8AC3E}">
        <p14:creationId xmlns:p14="http://schemas.microsoft.com/office/powerpoint/2010/main" val="37651354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Utfallende bilde">
    <p:spTree>
      <p:nvGrpSpPr>
        <p:cNvPr id="1" name=""/>
        <p:cNvGrpSpPr/>
        <p:nvPr/>
      </p:nvGrpSpPr>
      <p:grpSpPr>
        <a:xfrm>
          <a:off x="0" y="0"/>
          <a:ext cx="0" cy="0"/>
          <a:chOff x="0" y="0"/>
          <a:chExt cx="0" cy="0"/>
        </a:xfrm>
      </p:grpSpPr>
      <p:sp>
        <p:nvSpPr>
          <p:cNvPr id="3" name="Plassholder for bilde 13">
            <a:extLst>
              <a:ext uri="{FF2B5EF4-FFF2-40B4-BE49-F238E27FC236}">
                <a16:creationId xmlns:a16="http://schemas.microsoft.com/office/drawing/2014/main" id="{F63DEF97-E242-DE5E-7623-59AC3C1E7E9B}"/>
              </a:ext>
            </a:extLst>
          </p:cNvPr>
          <p:cNvSpPr>
            <a:spLocks noGrp="1"/>
          </p:cNvSpPr>
          <p:nvPr>
            <p:ph type="pic" sz="quarter" idx="18" hasCustomPrompt="1"/>
          </p:nvPr>
        </p:nvSpPr>
        <p:spPr>
          <a:xfrm>
            <a:off x="231134" y="248594"/>
            <a:ext cx="10231132" cy="7065663"/>
          </a:xfrm>
          <a:prstGeom prst="roundRect">
            <a:avLst>
              <a:gd name="adj" fmla="val 1042"/>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Tree>
    <p:extLst>
      <p:ext uri="{BB962C8B-B14F-4D97-AF65-F5344CB8AC3E}">
        <p14:creationId xmlns:p14="http://schemas.microsoft.com/office/powerpoint/2010/main" val="32242579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ilde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488922-9BBA-14F1-B762-C11716A73548}"/>
              </a:ext>
            </a:extLst>
          </p:cNvPr>
          <p:cNvGraphicFramePr>
            <a:graphicFrameLocks noChangeAspect="1"/>
          </p:cNvGraphicFramePr>
          <p:nvPr userDrawn="1">
            <p:custDataLst>
              <p:tags r:id="rId1"/>
            </p:custDataLst>
            <p:extLst>
              <p:ext uri="{D42A27DB-BD31-4B8C-83A1-F6EECF244321}">
                <p14:modId xmlns:p14="http://schemas.microsoft.com/office/powerpoint/2010/main" val="287382419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think-cell data - do not delete" hidden="1">
                        <a:extLst>
                          <a:ext uri="{FF2B5EF4-FFF2-40B4-BE49-F238E27FC236}">
                            <a16:creationId xmlns:a16="http://schemas.microsoft.com/office/drawing/2014/main" id="{3D488922-9BBA-14F1-B762-C11716A73548}"/>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Plassholder for bilde 13">
            <a:extLst>
              <a:ext uri="{FF2B5EF4-FFF2-40B4-BE49-F238E27FC236}">
                <a16:creationId xmlns:a16="http://schemas.microsoft.com/office/drawing/2014/main" id="{F63DEF97-E242-DE5E-7623-59AC3C1E7E9B}"/>
              </a:ext>
            </a:extLst>
          </p:cNvPr>
          <p:cNvSpPr>
            <a:spLocks noGrp="1"/>
          </p:cNvSpPr>
          <p:nvPr>
            <p:ph type="pic" sz="quarter" idx="18" hasCustomPrompt="1"/>
          </p:nvPr>
        </p:nvSpPr>
        <p:spPr>
          <a:xfrm>
            <a:off x="231134" y="248594"/>
            <a:ext cx="3284601" cy="7065663"/>
          </a:xfrm>
          <a:prstGeom prst="roundRect">
            <a:avLst>
              <a:gd name="adj" fmla="val 1678"/>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
        <p:nvSpPr>
          <p:cNvPr id="5" name="Plassholder for bilde 13">
            <a:extLst>
              <a:ext uri="{FF2B5EF4-FFF2-40B4-BE49-F238E27FC236}">
                <a16:creationId xmlns:a16="http://schemas.microsoft.com/office/drawing/2014/main" id="{098E776C-6CF2-371F-AAAD-E76FF7D32751}"/>
              </a:ext>
            </a:extLst>
          </p:cNvPr>
          <p:cNvSpPr>
            <a:spLocks noGrp="1"/>
          </p:cNvSpPr>
          <p:nvPr>
            <p:ph type="pic" sz="quarter" idx="19" hasCustomPrompt="1"/>
          </p:nvPr>
        </p:nvSpPr>
        <p:spPr>
          <a:xfrm>
            <a:off x="3705097" y="248594"/>
            <a:ext cx="3284601" cy="7065663"/>
          </a:xfrm>
          <a:prstGeom prst="roundRect">
            <a:avLst>
              <a:gd name="adj" fmla="val 1678"/>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
        <p:nvSpPr>
          <p:cNvPr id="6" name="Plassholder for bilde 13">
            <a:extLst>
              <a:ext uri="{FF2B5EF4-FFF2-40B4-BE49-F238E27FC236}">
                <a16:creationId xmlns:a16="http://schemas.microsoft.com/office/drawing/2014/main" id="{222A3BEE-34B5-4437-B174-85643512159E}"/>
              </a:ext>
            </a:extLst>
          </p:cNvPr>
          <p:cNvSpPr>
            <a:spLocks noGrp="1"/>
          </p:cNvSpPr>
          <p:nvPr>
            <p:ph type="pic" sz="quarter" idx="20" hasCustomPrompt="1"/>
          </p:nvPr>
        </p:nvSpPr>
        <p:spPr>
          <a:xfrm>
            <a:off x="7177666" y="248594"/>
            <a:ext cx="3284601" cy="7065663"/>
          </a:xfrm>
          <a:prstGeom prst="roundRect">
            <a:avLst>
              <a:gd name="adj" fmla="val 1678"/>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Tree>
    <p:extLst>
      <p:ext uri="{BB962C8B-B14F-4D97-AF65-F5344CB8AC3E}">
        <p14:creationId xmlns:p14="http://schemas.microsoft.com/office/powerpoint/2010/main" val="354196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ilder #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F2DC6F-876F-9858-42C5-DA2FEF0991EA}"/>
              </a:ext>
            </a:extLst>
          </p:cNvPr>
          <p:cNvGraphicFramePr>
            <a:graphicFrameLocks noChangeAspect="1"/>
          </p:cNvGraphicFramePr>
          <p:nvPr userDrawn="1">
            <p:custDataLst>
              <p:tags r:id="rId1"/>
            </p:custDataLst>
            <p:extLst>
              <p:ext uri="{D42A27DB-BD31-4B8C-83A1-F6EECF244321}">
                <p14:modId xmlns:p14="http://schemas.microsoft.com/office/powerpoint/2010/main" val="423007481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5" name="think-cell data - do not delete" hidden="1">
                        <a:extLst>
                          <a:ext uri="{FF2B5EF4-FFF2-40B4-BE49-F238E27FC236}">
                            <a16:creationId xmlns:a16="http://schemas.microsoft.com/office/drawing/2014/main" id="{C1F2DC6F-876F-9858-42C5-DA2FEF0991EA}"/>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Plassholder for bilde 13">
            <a:extLst>
              <a:ext uri="{FF2B5EF4-FFF2-40B4-BE49-F238E27FC236}">
                <a16:creationId xmlns:a16="http://schemas.microsoft.com/office/drawing/2014/main" id="{11C18F74-6D46-C78D-B33E-CBBCEC9B9AA4}"/>
              </a:ext>
            </a:extLst>
          </p:cNvPr>
          <p:cNvSpPr>
            <a:spLocks noGrp="1"/>
          </p:cNvSpPr>
          <p:nvPr>
            <p:ph type="pic" sz="quarter" idx="19" hasCustomPrompt="1"/>
          </p:nvPr>
        </p:nvSpPr>
        <p:spPr>
          <a:xfrm>
            <a:off x="232528" y="248594"/>
            <a:ext cx="3283206" cy="3413786"/>
          </a:xfrm>
          <a:prstGeom prst="roundRect">
            <a:avLst>
              <a:gd name="adj" fmla="val 1837"/>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
        <p:nvSpPr>
          <p:cNvPr id="3" name="Plassholder for bilde 13">
            <a:extLst>
              <a:ext uri="{FF2B5EF4-FFF2-40B4-BE49-F238E27FC236}">
                <a16:creationId xmlns:a16="http://schemas.microsoft.com/office/drawing/2014/main" id="{F63DEF97-E242-DE5E-7623-59AC3C1E7E9B}"/>
              </a:ext>
            </a:extLst>
          </p:cNvPr>
          <p:cNvSpPr>
            <a:spLocks noGrp="1"/>
          </p:cNvSpPr>
          <p:nvPr>
            <p:ph type="pic" sz="quarter" idx="18" hasCustomPrompt="1"/>
          </p:nvPr>
        </p:nvSpPr>
        <p:spPr>
          <a:xfrm>
            <a:off x="3705097" y="248594"/>
            <a:ext cx="6757169" cy="7065663"/>
          </a:xfrm>
          <a:prstGeom prst="roundRect">
            <a:avLst>
              <a:gd name="adj" fmla="val 1042"/>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6" name="Plassholder for bilde 13">
            <a:extLst>
              <a:ext uri="{FF2B5EF4-FFF2-40B4-BE49-F238E27FC236}">
                <a16:creationId xmlns:a16="http://schemas.microsoft.com/office/drawing/2014/main" id="{B2C53871-C9A4-1293-0BD4-AB61B85CF9EA}"/>
              </a:ext>
            </a:extLst>
          </p:cNvPr>
          <p:cNvSpPr>
            <a:spLocks noGrp="1"/>
          </p:cNvSpPr>
          <p:nvPr>
            <p:ph type="pic" sz="quarter" idx="20" hasCustomPrompt="1"/>
          </p:nvPr>
        </p:nvSpPr>
        <p:spPr>
          <a:xfrm>
            <a:off x="232528" y="3900472"/>
            <a:ext cx="3283206" cy="3413786"/>
          </a:xfrm>
          <a:prstGeom prst="roundRect">
            <a:avLst>
              <a:gd name="adj" fmla="val 1837"/>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Tree>
    <p:extLst>
      <p:ext uri="{BB962C8B-B14F-4D97-AF65-F5344CB8AC3E}">
        <p14:creationId xmlns:p14="http://schemas.microsoft.com/office/powerpoint/2010/main" val="2492033752"/>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ilder #3">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F2DC6F-876F-9858-42C5-DA2FEF0991EA}"/>
              </a:ext>
            </a:extLst>
          </p:cNvPr>
          <p:cNvGraphicFramePr>
            <a:graphicFrameLocks noChangeAspect="1"/>
          </p:cNvGraphicFramePr>
          <p:nvPr userDrawn="1">
            <p:custDataLst>
              <p:tags r:id="rId1"/>
            </p:custDataLst>
            <p:extLst>
              <p:ext uri="{D42A27DB-BD31-4B8C-83A1-F6EECF244321}">
                <p14:modId xmlns:p14="http://schemas.microsoft.com/office/powerpoint/2010/main" val="384334098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5" name="think-cell data - do not delete" hidden="1">
                        <a:extLst>
                          <a:ext uri="{FF2B5EF4-FFF2-40B4-BE49-F238E27FC236}">
                            <a16:creationId xmlns:a16="http://schemas.microsoft.com/office/drawing/2014/main" id="{C1F2DC6F-876F-9858-42C5-DA2FEF0991EA}"/>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lassholder for bilde 13">
            <a:extLst>
              <a:ext uri="{FF2B5EF4-FFF2-40B4-BE49-F238E27FC236}">
                <a16:creationId xmlns:a16="http://schemas.microsoft.com/office/drawing/2014/main" id="{62DAB1EE-F515-6539-4C07-B054FE76D9C6}"/>
              </a:ext>
            </a:extLst>
          </p:cNvPr>
          <p:cNvSpPr>
            <a:spLocks noGrp="1"/>
          </p:cNvSpPr>
          <p:nvPr>
            <p:ph type="pic" sz="quarter" idx="21" hasCustomPrompt="1"/>
          </p:nvPr>
        </p:nvSpPr>
        <p:spPr>
          <a:xfrm>
            <a:off x="232528" y="248594"/>
            <a:ext cx="6757169" cy="7065663"/>
          </a:xfrm>
          <a:prstGeom prst="roundRect">
            <a:avLst>
              <a:gd name="adj" fmla="val 1042"/>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en-US"/>
              <a:t>Sett inn </a:t>
            </a:r>
            <a:r>
              <a:rPr lang="en-US" err="1"/>
              <a:t>bilde</a:t>
            </a:r>
            <a:r>
              <a:rPr lang="en-US"/>
              <a:t> her via “Sett inn” -&gt; “</a:t>
            </a:r>
            <a:r>
              <a:rPr lang="en-US" err="1"/>
              <a:t>Bilder</a:t>
            </a:r>
            <a:r>
              <a:rPr lang="en-US"/>
              <a:t>”</a:t>
            </a:r>
            <a:br>
              <a:rPr lang="en-US"/>
            </a:br>
            <a:r>
              <a:rPr lang="en-US" err="1"/>
              <a:t>Alternativt</a:t>
            </a:r>
            <a:r>
              <a:rPr lang="en-US"/>
              <a:t>: marker </a:t>
            </a:r>
            <a:r>
              <a:rPr lang="en-US" err="1"/>
              <a:t>boksen</a:t>
            </a:r>
            <a:r>
              <a:rPr lang="en-US"/>
              <a:t> -&gt; </a:t>
            </a:r>
            <a:r>
              <a:rPr lang="en-US" err="1"/>
              <a:t>ctrl+V</a:t>
            </a:r>
            <a:endParaRPr lang="en-US"/>
          </a:p>
        </p:txBody>
      </p:sp>
      <p:sp>
        <p:nvSpPr>
          <p:cNvPr id="4" name="Plassholder for bilde 13">
            <a:extLst>
              <a:ext uri="{FF2B5EF4-FFF2-40B4-BE49-F238E27FC236}">
                <a16:creationId xmlns:a16="http://schemas.microsoft.com/office/drawing/2014/main" id="{11C18F74-6D46-C78D-B33E-CBBCEC9B9AA4}"/>
              </a:ext>
            </a:extLst>
          </p:cNvPr>
          <p:cNvSpPr>
            <a:spLocks noGrp="1"/>
          </p:cNvSpPr>
          <p:nvPr>
            <p:ph type="pic" sz="quarter" idx="19" hasCustomPrompt="1"/>
          </p:nvPr>
        </p:nvSpPr>
        <p:spPr>
          <a:xfrm>
            <a:off x="7179060" y="248594"/>
            <a:ext cx="3283206" cy="3413786"/>
          </a:xfrm>
          <a:prstGeom prst="roundRect">
            <a:avLst>
              <a:gd name="adj" fmla="val 1837"/>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
        <p:nvSpPr>
          <p:cNvPr id="6" name="Plassholder for bilde 13">
            <a:extLst>
              <a:ext uri="{FF2B5EF4-FFF2-40B4-BE49-F238E27FC236}">
                <a16:creationId xmlns:a16="http://schemas.microsoft.com/office/drawing/2014/main" id="{B2C53871-C9A4-1293-0BD4-AB61B85CF9EA}"/>
              </a:ext>
            </a:extLst>
          </p:cNvPr>
          <p:cNvSpPr>
            <a:spLocks noGrp="1"/>
          </p:cNvSpPr>
          <p:nvPr>
            <p:ph type="pic" sz="quarter" idx="20" hasCustomPrompt="1"/>
          </p:nvPr>
        </p:nvSpPr>
        <p:spPr>
          <a:xfrm>
            <a:off x="7179060" y="3900472"/>
            <a:ext cx="3283206" cy="3413786"/>
          </a:xfrm>
          <a:prstGeom prst="roundRect">
            <a:avLst>
              <a:gd name="adj" fmla="val 1837"/>
            </a:avLst>
          </a:prstGeom>
          <a:solidFill>
            <a:schemeClr val="bg1">
              <a:lumMod val="95000"/>
            </a:schemeClr>
          </a:solidFill>
        </p:spPr>
        <p:txBody>
          <a:bodyPr wrap="square">
            <a:noAutofit/>
          </a:bodyPr>
          <a:lstStyle>
            <a:lvl1pPr marL="0" indent="0">
              <a:buNone/>
              <a:defRPr>
                <a:solidFill>
                  <a:schemeClr val="bg1">
                    <a:lumMod val="75000"/>
                  </a:schemeClr>
                </a:solidFill>
              </a:defRPr>
            </a:lvl1pPr>
          </a:lstStyle>
          <a:p>
            <a:r>
              <a:rPr lang="nb-NO"/>
              <a:t>Bilde</a:t>
            </a:r>
            <a:endParaRPr lang="en-US"/>
          </a:p>
        </p:txBody>
      </p:sp>
    </p:spTree>
    <p:extLst>
      <p:ext uri="{BB962C8B-B14F-4D97-AF65-F5344CB8AC3E}">
        <p14:creationId xmlns:p14="http://schemas.microsoft.com/office/powerpoint/2010/main" val="2255271987"/>
      </p:ext>
    </p:extLst>
  </p:cSld>
  <p:clrMapOvr>
    <a:masterClrMapping/>
  </p:clrMapOvr>
  <p:extLst>
    <p:ext uri="{DCECCB84-F9BA-43D5-87BE-67443E8EF086}">
      <p15:sldGuideLst xmlns:p15="http://schemas.microsoft.com/office/powerpoint/2012/main">
        <p15:guide id="1" orient="horz" pos="2092">
          <p15:clr>
            <a:srgbClr val="F26B43"/>
          </p15:clr>
        </p15:guide>
        <p15:guide id="2" orient="horz" pos="2228">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m m sidetall">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5343FFE-9233-B973-98F9-F81BD082C3EB}"/>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79852245-F34F-ABAB-BDB1-B7FF3CF92607}"/>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Tree>
    <p:extLst>
      <p:ext uri="{BB962C8B-B14F-4D97-AF65-F5344CB8AC3E}">
        <p14:creationId xmlns:p14="http://schemas.microsoft.com/office/powerpoint/2010/main" val="1707685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65"/>
            <a:ext cx="9624060"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670" y="1692889"/>
            <a:ext cx="4724775" cy="705515"/>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p:cNvSpPr>
            <a:spLocks noGrp="1"/>
          </p:cNvSpPr>
          <p:nvPr>
            <p:ph sz="half" idx="2"/>
          </p:nvPr>
        </p:nvSpPr>
        <p:spPr>
          <a:xfrm>
            <a:off x="534670" y="2398404"/>
            <a:ext cx="4724775" cy="4357393"/>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432100" y="1692889"/>
            <a:ext cx="4726631" cy="705515"/>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6" name="Content Placeholder 5"/>
          <p:cNvSpPr>
            <a:spLocks noGrp="1"/>
          </p:cNvSpPr>
          <p:nvPr>
            <p:ph sz="quarter" idx="4"/>
          </p:nvPr>
        </p:nvSpPr>
        <p:spPr>
          <a:xfrm>
            <a:off x="5432100" y="2398404"/>
            <a:ext cx="4726631" cy="4357393"/>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8" name="Slide Number Placeholder 7"/>
          <p:cNvSpPr>
            <a:spLocks noGrp="1"/>
          </p:cNvSpPr>
          <p:nvPr>
            <p:ph type="sldNum" sz="quarter" idx="11"/>
          </p:nvPr>
        </p:nvSpPr>
        <p:spPr/>
        <p:txBody>
          <a:bodyPr/>
          <a:lstStyle>
            <a:lvl1pPr>
              <a:defRPr/>
            </a:lvl1pPr>
          </a:lstStyle>
          <a:p>
            <a:pPr>
              <a:defRPr/>
            </a:pPr>
            <a:fld id="{B8D33C5B-BCD3-4DE5-AC27-1CABF7792B82}" type="slidenum">
              <a:rPr lang="en-US"/>
              <a:pPr>
                <a:defRPr/>
              </a:pPr>
              <a:t>‹#›</a:t>
            </a:fld>
            <a:endParaRPr lang="en-US"/>
          </a:p>
        </p:txBody>
      </p:sp>
      <p:sp>
        <p:nvSpPr>
          <p:cNvPr id="9" name="Date Placeholder 8"/>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9358550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om m sidetall">
    <p:bg>
      <p:bgPr>
        <a:solidFill>
          <a:srgbClr val="EFE6FF"/>
        </a:solidFill>
        <a:effectLst/>
      </p:bgPr>
    </p:bg>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5343FFE-9233-B973-98F9-F81BD082C3EB}"/>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79852245-F34F-ABAB-BDB1-B7FF3CF92607}"/>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Tree>
    <p:extLst>
      <p:ext uri="{BB962C8B-B14F-4D97-AF65-F5344CB8AC3E}">
        <p14:creationId xmlns:p14="http://schemas.microsoft.com/office/powerpoint/2010/main" val="37203580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om m sidetall">
    <p:bg>
      <p:bgPr>
        <a:solidFill>
          <a:srgbClr val="ECFFA5"/>
        </a:solidFill>
        <a:effectLst/>
      </p:bgPr>
    </p:bg>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5343FFE-9233-B973-98F9-F81BD082C3EB}"/>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79852245-F34F-ABAB-BDB1-B7FF3CF92607}"/>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Tree>
    <p:extLst>
      <p:ext uri="{BB962C8B-B14F-4D97-AF65-F5344CB8AC3E}">
        <p14:creationId xmlns:p14="http://schemas.microsoft.com/office/powerpoint/2010/main" val="41392457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om m sidetall">
    <p:bg>
      <p:bgPr>
        <a:solidFill>
          <a:srgbClr val="FFFCAC"/>
        </a:solidFill>
        <a:effectLst/>
      </p:bgPr>
    </p:bg>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5343FFE-9233-B973-98F9-F81BD082C3EB}"/>
              </a:ext>
            </a:extLst>
          </p:cNvPr>
          <p:cNvSpPr txBox="1">
            <a:spLocks/>
          </p:cNvSpPr>
          <p:nvPr userDrawn="1"/>
        </p:nvSpPr>
        <p:spPr>
          <a:xfrm>
            <a:off x="234842" y="7112820"/>
            <a:ext cx="189450" cy="238200"/>
          </a:xfrm>
          <a:prstGeom prst="rect">
            <a:avLst/>
          </a:prstGeom>
        </p:spPr>
        <p:txBody>
          <a:bodyPr vert="horz" wrap="none" lIns="0" tIns="0" rIns="0" bIns="0" rtlCol="0" anchor="b" anchorCtr="0"/>
          <a:lstStyle>
            <a:defPPr>
              <a:defRPr lang="nb-NO"/>
            </a:defPPr>
            <a:lvl1pPr marL="0" algn="ctr" defTabSz="914400" rtl="0" eaLnBrk="1" latinLnBrk="0" hangingPunct="1">
              <a:defRPr sz="800" b="0" i="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DC36C10-FE24-486B-9BA4-EF1E3C7DE1F6}" type="slidenum">
              <a:rPr lang="nb-NO" sz="877" b="0" i="0" smtClean="0">
                <a:latin typeface="Fold Grotesque Pro Light" panose="020B0303030201040103" pitchFamily="34" charset="0"/>
              </a:rPr>
              <a:pPr algn="l"/>
              <a:t>‹#›</a:t>
            </a:fld>
            <a:endParaRPr lang="nb-NO" sz="877" b="0" i="0">
              <a:latin typeface="Fold Grotesque Pro Light" panose="020B0303030201040103" pitchFamily="34" charset="0"/>
            </a:endParaRPr>
          </a:p>
        </p:txBody>
      </p:sp>
      <p:sp>
        <p:nvSpPr>
          <p:cNvPr id="4" name="TekstSylinder 3">
            <a:extLst>
              <a:ext uri="{FF2B5EF4-FFF2-40B4-BE49-F238E27FC236}">
                <a16:creationId xmlns:a16="http://schemas.microsoft.com/office/drawing/2014/main" id="{79852245-F34F-ABAB-BDB1-B7FF3CF92607}"/>
              </a:ext>
            </a:extLst>
          </p:cNvPr>
          <p:cNvSpPr txBox="1"/>
          <p:nvPr userDrawn="1"/>
        </p:nvSpPr>
        <p:spPr>
          <a:xfrm>
            <a:off x="514864" y="7177577"/>
            <a:ext cx="339837" cy="135999"/>
          </a:xfrm>
          <a:prstGeom prst="rect">
            <a:avLst/>
          </a:prstGeom>
          <a:noFill/>
        </p:spPr>
        <p:txBody>
          <a:bodyPr wrap="none" lIns="0" tIns="0" rIns="0" bIns="0" rtlCol="0">
            <a:spAutoFit/>
          </a:bodyPr>
          <a:lstStyle/>
          <a:p>
            <a:pPr algn="l">
              <a:lnSpc>
                <a:spcPct val="105000"/>
              </a:lnSpc>
            </a:pPr>
            <a:r>
              <a:rPr lang="nb-NO" sz="877">
                <a:solidFill>
                  <a:schemeClr val="accent1"/>
                </a:solidFill>
                <a:latin typeface="Fold Grotesque Pro Light" panose="020B0303030201040103" pitchFamily="34" charset="0"/>
              </a:rPr>
              <a:t>Malling</a:t>
            </a:r>
          </a:p>
        </p:txBody>
      </p:sp>
    </p:spTree>
    <p:extLst>
      <p:ext uri="{BB962C8B-B14F-4D97-AF65-F5344CB8AC3E}">
        <p14:creationId xmlns:p14="http://schemas.microsoft.com/office/powerpoint/2010/main" val="25403895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662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6_Egendefinert oppsett">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38F7CA2-483D-95DC-0876-1ECCC8BE668C}"/>
              </a:ext>
            </a:extLst>
          </p:cNvPr>
          <p:cNvGraphicFramePr>
            <a:graphicFrameLocks noChangeAspect="1"/>
          </p:cNvGraphicFramePr>
          <p:nvPr userDrawn="1">
            <p:custDataLst>
              <p:tags r:id="rId1"/>
            </p:custDataLst>
            <p:extLst>
              <p:ext uri="{D42A27DB-BD31-4B8C-83A1-F6EECF244321}">
                <p14:modId xmlns:p14="http://schemas.microsoft.com/office/powerpoint/2010/main" val="310323071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3" name="think-cell data - do not delete" hidden="1">
                        <a:extLst>
                          <a:ext uri="{FF2B5EF4-FFF2-40B4-BE49-F238E27FC236}">
                            <a16:creationId xmlns:a16="http://schemas.microsoft.com/office/drawing/2014/main" id="{338F7CA2-483D-95DC-0876-1ECCC8BE668C}"/>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4" name="Grafikk 3">
            <a:extLst>
              <a:ext uri="{FF2B5EF4-FFF2-40B4-BE49-F238E27FC236}">
                <a16:creationId xmlns:a16="http://schemas.microsoft.com/office/drawing/2014/main" id="{DE27266F-ECD1-F510-65F9-1198BD841CA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12030" y="1398426"/>
            <a:ext cx="6166528" cy="3015181"/>
          </a:xfrm>
          <a:prstGeom prst="rect">
            <a:avLst/>
          </a:prstGeom>
        </p:spPr>
      </p:pic>
      <p:sp>
        <p:nvSpPr>
          <p:cNvPr id="6" name="TekstSylinder 5">
            <a:extLst>
              <a:ext uri="{FF2B5EF4-FFF2-40B4-BE49-F238E27FC236}">
                <a16:creationId xmlns:a16="http://schemas.microsoft.com/office/drawing/2014/main" id="{77D5CE36-238A-3149-837D-8F94BFB74CC6}"/>
              </a:ext>
            </a:extLst>
          </p:cNvPr>
          <p:cNvSpPr txBox="1"/>
          <p:nvPr userDrawn="1"/>
        </p:nvSpPr>
        <p:spPr>
          <a:xfrm>
            <a:off x="573656" y="6316302"/>
            <a:ext cx="1607812" cy="455509"/>
          </a:xfrm>
          <a:prstGeom prst="rect">
            <a:avLst/>
          </a:prstGeom>
          <a:noFill/>
        </p:spPr>
        <p:txBody>
          <a:bodyPr wrap="none" lIns="0" tIns="0" rIns="0" bIns="0" rtlCol="0">
            <a:spAutoFit/>
          </a:bodyPr>
          <a:lstStyle/>
          <a:p>
            <a:pPr algn="l">
              <a:lnSpc>
                <a:spcPct val="105000"/>
              </a:lnSpc>
            </a:pPr>
            <a:r>
              <a:rPr lang="nb-NO" sz="2938" err="1">
                <a:solidFill>
                  <a:schemeClr val="accent2"/>
                </a:solidFill>
                <a:latin typeface="Fold Grotesque Pro Light" panose="020B0303030201040103" pitchFamily="34" charset="0"/>
              </a:rPr>
              <a:t>malling.no</a:t>
            </a:r>
            <a:endParaRPr lang="nb-NO" sz="2938">
              <a:solidFill>
                <a:schemeClr val="accent2"/>
              </a:solidFill>
              <a:latin typeface="Fold Grotesque Pro Light" panose="020B0303030201040103" pitchFamily="34" charset="0"/>
            </a:endParaRPr>
          </a:p>
        </p:txBody>
      </p:sp>
      <p:sp>
        <p:nvSpPr>
          <p:cNvPr id="7" name="TekstSylinder 6">
            <a:extLst>
              <a:ext uri="{FF2B5EF4-FFF2-40B4-BE49-F238E27FC236}">
                <a16:creationId xmlns:a16="http://schemas.microsoft.com/office/drawing/2014/main" id="{D3799E1B-E03B-12B0-897D-8499DA7ED3F1}"/>
              </a:ext>
            </a:extLst>
          </p:cNvPr>
          <p:cNvSpPr txBox="1"/>
          <p:nvPr userDrawn="1"/>
        </p:nvSpPr>
        <p:spPr>
          <a:xfrm>
            <a:off x="573657" y="6876513"/>
            <a:ext cx="1474763" cy="455509"/>
          </a:xfrm>
          <a:prstGeom prst="rect">
            <a:avLst/>
          </a:prstGeom>
          <a:noFill/>
        </p:spPr>
        <p:txBody>
          <a:bodyPr wrap="none" lIns="0" tIns="0" rIns="0" bIns="0" rtlCol="0">
            <a:spAutoFit/>
          </a:bodyPr>
          <a:lstStyle/>
          <a:p>
            <a:pPr algn="l">
              <a:lnSpc>
                <a:spcPct val="105000"/>
              </a:lnSpc>
            </a:pPr>
            <a:r>
              <a:rPr lang="nb-NO" sz="2938" err="1">
                <a:solidFill>
                  <a:schemeClr val="accent2"/>
                </a:solidFill>
                <a:latin typeface="Fold Grotesque Pro Light" panose="020B0303030201040103" pitchFamily="34" charset="0"/>
              </a:rPr>
              <a:t>mallingco</a:t>
            </a:r>
            <a:endParaRPr lang="nb-NO" sz="2938">
              <a:solidFill>
                <a:schemeClr val="accent2"/>
              </a:solidFill>
              <a:latin typeface="Fold Grotesque Pro Light" panose="020B0303030201040103" pitchFamily="34" charset="0"/>
            </a:endParaRPr>
          </a:p>
        </p:txBody>
      </p:sp>
      <p:sp>
        <p:nvSpPr>
          <p:cNvPr id="8" name="TekstSylinder 7">
            <a:extLst>
              <a:ext uri="{FF2B5EF4-FFF2-40B4-BE49-F238E27FC236}">
                <a16:creationId xmlns:a16="http://schemas.microsoft.com/office/drawing/2014/main" id="{93F804DD-A0D9-8A5D-79E1-0E64D00E133D}"/>
              </a:ext>
            </a:extLst>
          </p:cNvPr>
          <p:cNvSpPr txBox="1"/>
          <p:nvPr userDrawn="1"/>
        </p:nvSpPr>
        <p:spPr>
          <a:xfrm>
            <a:off x="145492" y="6876513"/>
            <a:ext cx="336631" cy="455509"/>
          </a:xfrm>
          <a:prstGeom prst="rect">
            <a:avLst/>
          </a:prstGeom>
          <a:noFill/>
        </p:spPr>
        <p:txBody>
          <a:bodyPr wrap="none" lIns="0" tIns="0" rIns="0" bIns="0" rtlCol="0">
            <a:spAutoFit/>
          </a:bodyPr>
          <a:lstStyle/>
          <a:p>
            <a:pPr algn="l">
              <a:lnSpc>
                <a:spcPct val="105000"/>
              </a:lnSpc>
            </a:pPr>
            <a:r>
              <a:rPr lang="nb-NO" sz="2938">
                <a:solidFill>
                  <a:schemeClr val="accent2"/>
                </a:solidFill>
                <a:latin typeface="Fold Grotesque Pro Light" panose="020B0303030201040103" pitchFamily="34" charset="0"/>
              </a:rPr>
              <a:t>@</a:t>
            </a:r>
          </a:p>
        </p:txBody>
      </p:sp>
      <p:grpSp>
        <p:nvGrpSpPr>
          <p:cNvPr id="21" name="Gruppe 20">
            <a:extLst>
              <a:ext uri="{FF2B5EF4-FFF2-40B4-BE49-F238E27FC236}">
                <a16:creationId xmlns:a16="http://schemas.microsoft.com/office/drawing/2014/main" id="{22E32255-FBEF-39E5-1710-3F215DB74A3E}"/>
              </a:ext>
            </a:extLst>
          </p:cNvPr>
          <p:cNvGrpSpPr/>
          <p:nvPr userDrawn="1"/>
        </p:nvGrpSpPr>
        <p:grpSpPr>
          <a:xfrm>
            <a:off x="197989" y="6314576"/>
            <a:ext cx="337175" cy="423938"/>
            <a:chOff x="168585" y="5709396"/>
            <a:chExt cx="384427" cy="384427"/>
          </a:xfrm>
        </p:grpSpPr>
        <p:pic>
          <p:nvPicPr>
            <p:cNvPr id="11" name="Grafikk 10" descr="Cirkumfleks ned med heldekkende fyll">
              <a:extLst>
                <a:ext uri="{FF2B5EF4-FFF2-40B4-BE49-F238E27FC236}">
                  <a16:creationId xmlns:a16="http://schemas.microsoft.com/office/drawing/2014/main" id="{B213E82F-5038-6C37-25B7-76AFF20F5D6F}"/>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500000">
              <a:off x="168585" y="5709396"/>
              <a:ext cx="384427" cy="384427"/>
            </a:xfrm>
            <a:prstGeom prst="rect">
              <a:avLst/>
            </a:prstGeom>
          </p:spPr>
        </p:pic>
        <p:cxnSp>
          <p:nvCxnSpPr>
            <p:cNvPr id="17" name="Rett linje 16">
              <a:extLst>
                <a:ext uri="{FF2B5EF4-FFF2-40B4-BE49-F238E27FC236}">
                  <a16:creationId xmlns:a16="http://schemas.microsoft.com/office/drawing/2014/main" id="{B9D199E1-7596-9D85-BA33-4CD604A31B59}"/>
                </a:ext>
              </a:extLst>
            </p:cNvPr>
            <p:cNvCxnSpPr>
              <a:cxnSpLocks/>
            </p:cNvCxnSpPr>
            <p:nvPr userDrawn="1"/>
          </p:nvCxnSpPr>
          <p:spPr>
            <a:xfrm flipH="1">
              <a:off x="181770" y="5872958"/>
              <a:ext cx="207973" cy="20797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56222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Egendefinert - Tittel uten undertekst">
    <p:spTree>
      <p:nvGrpSpPr>
        <p:cNvPr id="1" name=""/>
        <p:cNvGrpSpPr/>
        <p:nvPr/>
      </p:nvGrpSpPr>
      <p:grpSpPr>
        <a:xfrm>
          <a:off x="0" y="0"/>
          <a:ext cx="0" cy="0"/>
          <a:chOff x="0" y="0"/>
          <a:chExt cx="0" cy="0"/>
        </a:xfrm>
      </p:grpSpPr>
      <p:sp>
        <p:nvSpPr>
          <p:cNvPr id="5" name="Plassholder for tekst 7">
            <a:extLst>
              <a:ext uri="{FF2B5EF4-FFF2-40B4-BE49-F238E27FC236}">
                <a16:creationId xmlns:a16="http://schemas.microsoft.com/office/drawing/2014/main" id="{A23DD92B-D445-106C-EDA1-2C359B3BBC81}"/>
              </a:ext>
            </a:extLst>
          </p:cNvPr>
          <p:cNvSpPr>
            <a:spLocks noGrp="1"/>
          </p:cNvSpPr>
          <p:nvPr>
            <p:ph type="body" sz="quarter" idx="11" hasCustomPrompt="1"/>
          </p:nvPr>
        </p:nvSpPr>
        <p:spPr>
          <a:xfrm>
            <a:off x="231134" y="62245"/>
            <a:ext cx="10231132" cy="1587848"/>
          </a:xfrm>
          <a:prstGeom prst="rect">
            <a:avLst/>
          </a:prstGeom>
        </p:spPr>
        <p:txBody>
          <a:bodyPr lIns="36000" tIns="165600" rIns="36000" bIns="0"/>
          <a:lstStyle>
            <a:lvl1pPr marL="0" indent="0">
              <a:lnSpc>
                <a:spcPct val="100000"/>
              </a:lnSpc>
              <a:spcBef>
                <a:spcPts val="0"/>
              </a:spcBef>
              <a:buFontTx/>
              <a:buNone/>
              <a:defRPr sz="2938">
                <a:latin typeface="Fold Grotesque Pro Light" panose="020B0303030201040103" pitchFamily="34" charset="0"/>
                <a:cs typeface="Arial" panose="020B0604020202020204" pitchFamily="34" charset="0"/>
              </a:defRPr>
            </a:lvl1pPr>
            <a:lvl2pPr marL="401010" indent="0">
              <a:buFontTx/>
              <a:buNone/>
              <a:defRPr/>
            </a:lvl2pPr>
            <a:lvl3pPr marL="802020" indent="0">
              <a:buFontTx/>
              <a:buNone/>
              <a:defRPr/>
            </a:lvl3pPr>
            <a:lvl4pPr marL="1203030" indent="0">
              <a:buFontTx/>
              <a:buNone/>
              <a:defRPr/>
            </a:lvl4pPr>
            <a:lvl5pPr marL="1604040" indent="0">
              <a:buFontTx/>
              <a:buNone/>
              <a:defRPr/>
            </a:lvl5pPr>
          </a:lstStyle>
          <a:p>
            <a:pPr lvl="0"/>
            <a:r>
              <a:rPr lang="nb-NO"/>
              <a:t>Test</a:t>
            </a:r>
          </a:p>
        </p:txBody>
      </p:sp>
    </p:spTree>
    <p:extLst>
      <p:ext uri="{BB962C8B-B14F-4D97-AF65-F5344CB8AC3E}">
        <p14:creationId xmlns:p14="http://schemas.microsoft.com/office/powerpoint/2010/main" val="2005547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DCE7F1B-F3FA-79D7-F004-A124B7C47CAC}"/>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656AE133-737C-8A63-0214-306EA873FCC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A7890E35-6B8D-66FB-6DCB-D75AB08C3D96}"/>
              </a:ext>
            </a:extLst>
          </p:cNvPr>
          <p:cNvSpPr>
            <a:spLocks noGrp="1"/>
          </p:cNvSpPr>
          <p:nvPr>
            <p:ph type="dt" sz="half" idx="10"/>
          </p:nvPr>
        </p:nvSpPr>
        <p:spPr/>
        <p:txBody>
          <a:bodyPr/>
          <a:lstStyle/>
          <a:p>
            <a:fld id="{BC02228D-91BE-4C74-9135-C48A8DD41A4D}" type="datetimeFigureOut">
              <a:rPr lang="nb-NO" smtClean="0"/>
              <a:t>19.11.2025</a:t>
            </a:fld>
            <a:endParaRPr lang="nb-NO"/>
          </a:p>
        </p:txBody>
      </p:sp>
      <p:sp>
        <p:nvSpPr>
          <p:cNvPr id="5" name="Plassholder for bunntekst 4">
            <a:extLst>
              <a:ext uri="{FF2B5EF4-FFF2-40B4-BE49-F238E27FC236}">
                <a16:creationId xmlns:a16="http://schemas.microsoft.com/office/drawing/2014/main" id="{5B407BC4-0F36-5A59-60E8-7CEB44E378B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FC1A5D1-197A-BBB0-E6D8-182C74C7ACC7}"/>
              </a:ext>
            </a:extLst>
          </p:cNvPr>
          <p:cNvSpPr>
            <a:spLocks noGrp="1"/>
          </p:cNvSpPr>
          <p:nvPr>
            <p:ph type="sldNum" sz="quarter" idx="12"/>
          </p:nvPr>
        </p:nvSpPr>
        <p:spPr/>
        <p:txBody>
          <a:bodyPr/>
          <a:lstStyle/>
          <a:p>
            <a:fld id="{7C6822B4-A0E1-4287-B472-DE1D176DC9D0}" type="slidenum">
              <a:rPr lang="nb-NO" smtClean="0"/>
              <a:t>‹#›</a:t>
            </a:fld>
            <a:endParaRPr lang="nb-NO"/>
          </a:p>
        </p:txBody>
      </p:sp>
    </p:spTree>
    <p:extLst>
      <p:ext uri="{BB962C8B-B14F-4D97-AF65-F5344CB8AC3E}">
        <p14:creationId xmlns:p14="http://schemas.microsoft.com/office/powerpoint/2010/main" val="18059131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48570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4" name="Slide Number Placeholder 3"/>
          <p:cNvSpPr>
            <a:spLocks noGrp="1"/>
          </p:cNvSpPr>
          <p:nvPr>
            <p:ph type="sldNum" sz="quarter" idx="11"/>
          </p:nvPr>
        </p:nvSpPr>
        <p:spPr/>
        <p:txBody>
          <a:bodyPr/>
          <a:lstStyle>
            <a:lvl1pPr>
              <a:defRPr/>
            </a:lvl1pPr>
          </a:lstStyle>
          <a:p>
            <a:pPr>
              <a:defRPr/>
            </a:pPr>
            <a:fld id="{7800D452-A239-4758-A610-B6E8E51988A7}" type="slidenum">
              <a:rPr lang="en-US"/>
              <a:pPr>
                <a:defRPr/>
              </a:pPr>
              <a:t>‹#›</a:t>
            </a:fld>
            <a:endParaRPr lang="en-US"/>
          </a:p>
        </p:txBody>
      </p:sp>
      <p:sp>
        <p:nvSpPr>
          <p:cNvPr id="5" name="Date Placeholder 4"/>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1158500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3" name="Slide Number Placeholder 2"/>
          <p:cNvSpPr>
            <a:spLocks noGrp="1"/>
          </p:cNvSpPr>
          <p:nvPr>
            <p:ph type="sldNum" sz="quarter" idx="11"/>
          </p:nvPr>
        </p:nvSpPr>
        <p:spPr/>
        <p:txBody>
          <a:bodyPr/>
          <a:lstStyle>
            <a:lvl1pPr>
              <a:defRPr/>
            </a:lvl1pPr>
          </a:lstStyle>
          <a:p>
            <a:pPr>
              <a:defRPr/>
            </a:pPr>
            <a:fld id="{6AD53AAE-01F6-446D-981B-91A4DC46A868}" type="slidenum">
              <a:rPr lang="en-US"/>
              <a:pPr>
                <a:defRPr/>
              </a:pPr>
              <a:t>‹#›</a:t>
            </a:fld>
            <a:endParaRPr lang="en-US"/>
          </a:p>
        </p:txBody>
      </p:sp>
      <p:sp>
        <p:nvSpPr>
          <p:cNvPr id="4" name="Date Placeholder 3"/>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1496144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113"/>
            <a:ext cx="3518055" cy="1281483"/>
          </a:xfrm>
        </p:spPr>
        <p:txBody>
          <a:bodyPr anchor="b"/>
          <a:lstStyle>
            <a:lvl1pPr algn="l">
              <a:defRPr sz="1754" b="1"/>
            </a:lvl1pPr>
          </a:lstStyle>
          <a:p>
            <a:r>
              <a:rPr lang="en-US"/>
              <a:t>Click to edit Master title style</a:t>
            </a:r>
          </a:p>
        </p:txBody>
      </p:sp>
      <p:sp>
        <p:nvSpPr>
          <p:cNvPr id="3" name="Content Placeholder 2"/>
          <p:cNvSpPr>
            <a:spLocks noGrp="1"/>
          </p:cNvSpPr>
          <p:nvPr>
            <p:ph idx="1"/>
          </p:nvPr>
        </p:nvSpPr>
        <p:spPr>
          <a:xfrm>
            <a:off x="4180822" y="301115"/>
            <a:ext cx="5977908" cy="6454683"/>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4671" y="1582598"/>
            <a:ext cx="3518055" cy="5173200"/>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6" name="Slide Number Placeholder 5"/>
          <p:cNvSpPr>
            <a:spLocks noGrp="1"/>
          </p:cNvSpPr>
          <p:nvPr>
            <p:ph type="sldNum" sz="quarter" idx="11"/>
          </p:nvPr>
        </p:nvSpPr>
        <p:spPr/>
        <p:txBody>
          <a:bodyPr/>
          <a:lstStyle>
            <a:lvl1pPr>
              <a:defRPr/>
            </a:lvl1pPr>
          </a:lstStyle>
          <a:p>
            <a:pPr>
              <a:defRPr/>
            </a:pPr>
            <a:fld id="{38FE6D3A-BFC3-4967-81C9-0EF2E3269CAD}" type="slidenum">
              <a:rPr lang="en-US"/>
              <a:pPr>
                <a:defRPr/>
              </a:pPr>
              <a:t>‹#›</a:t>
            </a:fld>
            <a:endParaRPr lang="en-US"/>
          </a:p>
        </p:txBody>
      </p:sp>
      <p:sp>
        <p:nvSpPr>
          <p:cNvPr id="7" name="Date Placeholder 6"/>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4070180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3995"/>
            <a:ext cx="6416040" cy="624986"/>
          </a:xfrm>
        </p:spPr>
        <p:txBody>
          <a:bodyPr anchor="b"/>
          <a:lstStyle>
            <a:lvl1pPr algn="l">
              <a:defRPr sz="1754" b="1"/>
            </a:lvl1pPr>
          </a:lstStyle>
          <a:p>
            <a:r>
              <a:rPr lang="en-US"/>
              <a:t>Click to edit Master title style</a:t>
            </a:r>
          </a:p>
        </p:txBody>
      </p:sp>
      <p:sp>
        <p:nvSpPr>
          <p:cNvPr id="3" name="Picture Placeholder 2"/>
          <p:cNvSpPr>
            <a:spLocks noGrp="1"/>
          </p:cNvSpPr>
          <p:nvPr>
            <p:ph type="pic" idx="1"/>
          </p:nvPr>
        </p:nvSpPr>
        <p:spPr>
          <a:xfrm>
            <a:off x="2095981" y="675755"/>
            <a:ext cx="6416040" cy="4537710"/>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pPr lvl="0"/>
            <a:r>
              <a:rPr lang="en-US" noProof="0"/>
              <a:t>Click icon to add picture</a:t>
            </a:r>
          </a:p>
        </p:txBody>
      </p:sp>
      <p:sp>
        <p:nvSpPr>
          <p:cNvPr id="4" name="Text Placeholder 3"/>
          <p:cNvSpPr>
            <a:spLocks noGrp="1"/>
          </p:cNvSpPr>
          <p:nvPr>
            <p:ph type="body" sz="half" idx="2"/>
          </p:nvPr>
        </p:nvSpPr>
        <p:spPr>
          <a:xfrm>
            <a:off x="2095981" y="5918981"/>
            <a:ext cx="6416040" cy="887584"/>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nb-NO"/>
              <a:t>NfN - NORSK NETTVERK FOR NÆRINGSEIENDOM Norwegian Real Estate and Facility Management Network</a:t>
            </a:r>
            <a:endParaRPr lang="en-US"/>
          </a:p>
        </p:txBody>
      </p:sp>
      <p:sp>
        <p:nvSpPr>
          <p:cNvPr id="6" name="Slide Number Placeholder 5"/>
          <p:cNvSpPr>
            <a:spLocks noGrp="1"/>
          </p:cNvSpPr>
          <p:nvPr>
            <p:ph type="sldNum" sz="quarter" idx="11"/>
          </p:nvPr>
        </p:nvSpPr>
        <p:spPr/>
        <p:txBody>
          <a:bodyPr/>
          <a:lstStyle>
            <a:lvl1pPr>
              <a:defRPr/>
            </a:lvl1pPr>
          </a:lstStyle>
          <a:p>
            <a:pPr>
              <a:defRPr/>
            </a:pPr>
            <a:fld id="{D0E6DF0E-2B52-425B-8179-8C687A88140C}" type="slidenum">
              <a:rPr lang="en-US"/>
              <a:pPr>
                <a:defRPr/>
              </a:pPr>
              <a:t>‹#›</a:t>
            </a:fld>
            <a:endParaRPr lang="en-US"/>
          </a:p>
        </p:txBody>
      </p:sp>
      <p:sp>
        <p:nvSpPr>
          <p:cNvPr id="7" name="Date Placeholder 6"/>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34818196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oleObject" Target="../embeddings/oleObject1.bin"/><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image" Target="../media/image3.png"/><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image" Target="../media/image2.emf"/><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tags" Target="../tags/tag1.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0290" name="Rectangle 2"/>
          <p:cNvSpPr>
            <a:spLocks noGrp="1" noChangeArrowheads="1"/>
          </p:cNvSpPr>
          <p:nvPr>
            <p:ph type="ftr" sz="quarter" idx="3"/>
          </p:nvPr>
        </p:nvSpPr>
        <p:spPr bwMode="auto">
          <a:xfrm>
            <a:off x="2567531" y="6890597"/>
            <a:ext cx="5053374" cy="50419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053" b="1">
                <a:solidFill>
                  <a:schemeClr val="bg2"/>
                </a:solidFill>
                <a:latin typeface="Times New Roman" pitchFamily="18" charset="0"/>
              </a:defRPr>
            </a:lvl1pPr>
          </a:lstStyle>
          <a:p>
            <a:pPr>
              <a:defRPr/>
            </a:pPr>
            <a:endParaRPr lang="en-US"/>
          </a:p>
        </p:txBody>
      </p:sp>
      <p:sp>
        <p:nvSpPr>
          <p:cNvPr id="140291" name="Rectangle 3"/>
          <p:cNvSpPr>
            <a:spLocks noGrp="1" noChangeArrowheads="1"/>
          </p:cNvSpPr>
          <p:nvPr>
            <p:ph type="sldNum" sz="quarter" idx="4"/>
          </p:nvPr>
        </p:nvSpPr>
        <p:spPr bwMode="auto">
          <a:xfrm>
            <a:off x="8461897" y="6890597"/>
            <a:ext cx="1696834" cy="50419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053">
                <a:solidFill>
                  <a:schemeClr val="accent1"/>
                </a:solidFill>
                <a:latin typeface="Arial Black" pitchFamily="34" charset="0"/>
              </a:defRPr>
            </a:lvl1pPr>
          </a:lstStyle>
          <a:p>
            <a:pPr>
              <a:defRPr/>
            </a:pPr>
            <a:fld id="{47FE990A-964A-40C2-ACDC-6C3C65F85AE7}" type="slidenum">
              <a:rPr lang="en-US"/>
              <a:pPr>
                <a:defRPr/>
              </a:pPr>
              <a:t>‹#›</a:t>
            </a:fld>
            <a:endParaRPr lang="en-US"/>
          </a:p>
        </p:txBody>
      </p:sp>
      <p:grpSp>
        <p:nvGrpSpPr>
          <p:cNvPr id="6148" name="Group 4"/>
          <p:cNvGrpSpPr>
            <a:grpSpLocks/>
          </p:cNvGrpSpPr>
          <p:nvPr/>
        </p:nvGrpSpPr>
        <p:grpSpPr bwMode="auto">
          <a:xfrm>
            <a:off x="0" y="0"/>
            <a:ext cx="10693400" cy="602227"/>
            <a:chOff x="0" y="0"/>
            <a:chExt cx="5760" cy="344"/>
          </a:xfrm>
        </p:grpSpPr>
        <p:sp>
          <p:nvSpPr>
            <p:cNvPr id="140293" name="Rectangle 5"/>
            <p:cNvSpPr>
              <a:spLocks noChangeArrowheads="1"/>
            </p:cNvSpPr>
            <p:nvPr/>
          </p:nvSpPr>
          <p:spPr bwMode="auto">
            <a:xfrm>
              <a:off x="0" y="0"/>
              <a:ext cx="180" cy="336"/>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defRPr/>
              </a:pPr>
              <a:endParaRPr lang="en-US" sz="2105">
                <a:latin typeface="Times New Roman" pitchFamily="18" charset="0"/>
              </a:endParaRPr>
            </a:p>
          </p:txBody>
        </p:sp>
        <p:sp>
          <p:nvSpPr>
            <p:cNvPr id="140294" name="Rectangle 6"/>
            <p:cNvSpPr>
              <a:spLocks noChangeArrowheads="1"/>
            </p:cNvSpPr>
            <p:nvPr/>
          </p:nvSpPr>
          <p:spPr bwMode="auto">
            <a:xfrm>
              <a:off x="260" y="85"/>
              <a:ext cx="5500" cy="173"/>
            </a:xfrm>
            <a:prstGeom prst="rect">
              <a:avLst/>
            </a:prstGeom>
            <a:gradFill rotWithShape="0">
              <a:gsLst>
                <a:gs pos="0">
                  <a:schemeClr val="bg2"/>
                </a:gs>
                <a:gs pos="100000">
                  <a:schemeClr val="bg1"/>
                </a:gs>
              </a:gsLst>
              <a:lin ang="0" scaled="1"/>
            </a:gradFill>
            <a:ln w="9525">
              <a:noFill/>
              <a:miter lim="800000"/>
              <a:headEnd/>
              <a:tailEnd/>
            </a:ln>
          </p:spPr>
          <p:txBody>
            <a:bodyPr/>
            <a:lstStyle/>
            <a:p>
              <a:pPr>
                <a:defRPr/>
              </a:pPr>
              <a:endParaRPr lang="en-US" sz="2105">
                <a:latin typeface="Times New Roman" pitchFamily="18" charset="0"/>
              </a:endParaRPr>
            </a:p>
          </p:txBody>
        </p:sp>
        <p:sp>
          <p:nvSpPr>
            <p:cNvPr id="140295" name="Rectangle 7"/>
            <p:cNvSpPr>
              <a:spLocks noChangeArrowheads="1"/>
            </p:cNvSpPr>
            <p:nvPr/>
          </p:nvSpPr>
          <p:spPr bwMode="auto">
            <a:xfrm>
              <a:off x="258" y="85"/>
              <a:ext cx="87" cy="89"/>
            </a:xfrm>
            <a:prstGeom prst="rect">
              <a:avLst/>
            </a:prstGeom>
            <a:solidFill>
              <a:schemeClr val="folHlink"/>
            </a:solidFill>
            <a:ln w="9525">
              <a:noFill/>
              <a:miter lim="800000"/>
              <a:headEnd/>
              <a:tailEnd/>
            </a:ln>
          </p:spPr>
          <p:txBody>
            <a:bodyPr/>
            <a:lstStyle/>
            <a:p>
              <a:pPr>
                <a:defRPr/>
              </a:pPr>
              <a:endParaRPr lang="en-US" sz="1579">
                <a:solidFill>
                  <a:schemeClr val="hlink"/>
                </a:solidFill>
              </a:endParaRPr>
            </a:p>
          </p:txBody>
        </p:sp>
        <p:sp>
          <p:nvSpPr>
            <p:cNvPr id="140296" name="Rectangle 8"/>
            <p:cNvSpPr>
              <a:spLocks noChangeArrowheads="1"/>
            </p:cNvSpPr>
            <p:nvPr/>
          </p:nvSpPr>
          <p:spPr bwMode="auto">
            <a:xfrm>
              <a:off x="345" y="0"/>
              <a:ext cx="88" cy="87"/>
            </a:xfrm>
            <a:prstGeom prst="rect">
              <a:avLst/>
            </a:prstGeom>
            <a:solidFill>
              <a:schemeClr val="folHlink"/>
            </a:solidFill>
            <a:ln w="9525">
              <a:noFill/>
              <a:miter lim="800000"/>
              <a:headEnd/>
              <a:tailEnd/>
            </a:ln>
          </p:spPr>
          <p:txBody>
            <a:bodyPr/>
            <a:lstStyle/>
            <a:p>
              <a:pPr>
                <a:defRPr/>
              </a:pPr>
              <a:endParaRPr lang="en-US" sz="1579">
                <a:solidFill>
                  <a:schemeClr val="hlink"/>
                </a:solidFill>
              </a:endParaRPr>
            </a:p>
          </p:txBody>
        </p:sp>
        <p:sp>
          <p:nvSpPr>
            <p:cNvPr id="140297" name="Rectangle 9"/>
            <p:cNvSpPr>
              <a:spLocks noChangeArrowheads="1"/>
            </p:cNvSpPr>
            <p:nvPr/>
          </p:nvSpPr>
          <p:spPr bwMode="auto">
            <a:xfrm>
              <a:off x="345" y="85"/>
              <a:ext cx="88" cy="89"/>
            </a:xfrm>
            <a:prstGeom prst="rect">
              <a:avLst/>
            </a:prstGeom>
            <a:solidFill>
              <a:schemeClr val="accent2"/>
            </a:solidFill>
            <a:ln w="9525">
              <a:noFill/>
              <a:miter lim="800000"/>
              <a:headEnd/>
              <a:tailEnd/>
            </a:ln>
          </p:spPr>
          <p:txBody>
            <a:bodyPr/>
            <a:lstStyle/>
            <a:p>
              <a:pPr>
                <a:defRPr/>
              </a:pPr>
              <a:endParaRPr lang="en-US" sz="1579">
                <a:solidFill>
                  <a:schemeClr val="accent2"/>
                </a:solidFill>
              </a:endParaRPr>
            </a:p>
          </p:txBody>
        </p:sp>
        <p:sp>
          <p:nvSpPr>
            <p:cNvPr id="140298" name="Rectangle 10"/>
            <p:cNvSpPr>
              <a:spLocks noChangeArrowheads="1"/>
            </p:cNvSpPr>
            <p:nvPr/>
          </p:nvSpPr>
          <p:spPr bwMode="auto">
            <a:xfrm>
              <a:off x="173" y="173"/>
              <a:ext cx="86" cy="87"/>
            </a:xfrm>
            <a:prstGeom prst="rect">
              <a:avLst/>
            </a:prstGeom>
            <a:solidFill>
              <a:schemeClr val="folHlink"/>
            </a:solidFill>
            <a:ln w="9525">
              <a:noFill/>
              <a:miter lim="800000"/>
              <a:headEnd/>
              <a:tailEnd/>
            </a:ln>
          </p:spPr>
          <p:txBody>
            <a:bodyPr/>
            <a:lstStyle/>
            <a:p>
              <a:pPr>
                <a:defRPr/>
              </a:pPr>
              <a:endParaRPr lang="en-US" sz="1579">
                <a:solidFill>
                  <a:schemeClr val="hlink"/>
                </a:solidFill>
              </a:endParaRPr>
            </a:p>
          </p:txBody>
        </p:sp>
        <p:sp>
          <p:nvSpPr>
            <p:cNvPr id="140299" name="Rectangle 11"/>
            <p:cNvSpPr>
              <a:spLocks noChangeArrowheads="1"/>
            </p:cNvSpPr>
            <p:nvPr/>
          </p:nvSpPr>
          <p:spPr bwMode="auto">
            <a:xfrm>
              <a:off x="83" y="86"/>
              <a:ext cx="89" cy="87"/>
            </a:xfrm>
            <a:prstGeom prst="rect">
              <a:avLst/>
            </a:prstGeom>
            <a:solidFill>
              <a:schemeClr val="bg2"/>
            </a:solidFill>
            <a:ln w="9525">
              <a:noFill/>
              <a:miter lim="800000"/>
              <a:headEnd/>
              <a:tailEnd/>
            </a:ln>
          </p:spPr>
          <p:txBody>
            <a:bodyPr/>
            <a:lstStyle/>
            <a:p>
              <a:pPr>
                <a:defRPr/>
              </a:pPr>
              <a:endParaRPr lang="en-US" sz="2105">
                <a:latin typeface="Times New Roman" pitchFamily="18" charset="0"/>
              </a:endParaRPr>
            </a:p>
          </p:txBody>
        </p:sp>
        <p:sp>
          <p:nvSpPr>
            <p:cNvPr id="140300" name="Rectangle 12"/>
            <p:cNvSpPr>
              <a:spLocks noChangeArrowheads="1"/>
            </p:cNvSpPr>
            <p:nvPr/>
          </p:nvSpPr>
          <p:spPr bwMode="auto">
            <a:xfrm>
              <a:off x="258" y="171"/>
              <a:ext cx="87" cy="87"/>
            </a:xfrm>
            <a:prstGeom prst="rect">
              <a:avLst/>
            </a:prstGeom>
            <a:solidFill>
              <a:schemeClr val="accent2"/>
            </a:solidFill>
            <a:ln w="9525">
              <a:noFill/>
              <a:miter lim="800000"/>
              <a:headEnd/>
              <a:tailEnd/>
            </a:ln>
          </p:spPr>
          <p:txBody>
            <a:bodyPr/>
            <a:lstStyle/>
            <a:p>
              <a:pPr>
                <a:defRPr/>
              </a:pPr>
              <a:endParaRPr lang="en-US" sz="1579">
                <a:solidFill>
                  <a:schemeClr val="accent2"/>
                </a:solidFill>
              </a:endParaRPr>
            </a:p>
          </p:txBody>
        </p:sp>
        <p:sp>
          <p:nvSpPr>
            <p:cNvPr id="140301" name="Rectangle 13"/>
            <p:cNvSpPr>
              <a:spLocks noChangeArrowheads="1"/>
            </p:cNvSpPr>
            <p:nvPr/>
          </p:nvSpPr>
          <p:spPr bwMode="auto">
            <a:xfrm>
              <a:off x="173" y="258"/>
              <a:ext cx="86" cy="86"/>
            </a:xfrm>
            <a:prstGeom prst="rect">
              <a:avLst/>
            </a:prstGeom>
            <a:solidFill>
              <a:schemeClr val="accent2"/>
            </a:solidFill>
            <a:ln w="9525">
              <a:noFill/>
              <a:miter lim="800000"/>
              <a:headEnd/>
              <a:tailEnd/>
            </a:ln>
          </p:spPr>
          <p:txBody>
            <a:bodyPr/>
            <a:lstStyle/>
            <a:p>
              <a:pPr>
                <a:defRPr/>
              </a:pPr>
              <a:endParaRPr lang="en-US" sz="1579">
                <a:solidFill>
                  <a:schemeClr val="accent2"/>
                </a:solidFill>
              </a:endParaRPr>
            </a:p>
          </p:txBody>
        </p:sp>
      </p:grpSp>
      <p:sp>
        <p:nvSpPr>
          <p:cNvPr id="6149" name="Rectangle 14"/>
          <p:cNvSpPr>
            <a:spLocks noGrp="1" noChangeArrowheads="1"/>
          </p:cNvSpPr>
          <p:nvPr>
            <p:ph type="title"/>
          </p:nvPr>
        </p:nvSpPr>
        <p:spPr bwMode="auto">
          <a:xfrm>
            <a:off x="534670" y="1423095"/>
            <a:ext cx="9624060" cy="10083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err="1"/>
              <a:t>Klikk</a:t>
            </a:r>
            <a:r>
              <a:rPr lang="en-US"/>
              <a:t> for </a:t>
            </a:r>
            <a:r>
              <a:rPr lang="en-US" err="1"/>
              <a:t>å</a:t>
            </a:r>
            <a:r>
              <a:rPr lang="en-US"/>
              <a:t> </a:t>
            </a:r>
            <a:r>
              <a:rPr lang="en-US" err="1"/>
              <a:t>redigere</a:t>
            </a:r>
            <a:r>
              <a:rPr lang="en-US"/>
              <a:t> </a:t>
            </a:r>
            <a:r>
              <a:rPr lang="en-US" err="1"/>
              <a:t>tittelstil</a:t>
            </a:r>
            <a:endParaRPr lang="en-US"/>
          </a:p>
        </p:txBody>
      </p:sp>
      <p:sp>
        <p:nvSpPr>
          <p:cNvPr id="6150" name="Rectangle 15"/>
          <p:cNvSpPr>
            <a:spLocks noGrp="1" noChangeArrowheads="1"/>
          </p:cNvSpPr>
          <p:nvPr>
            <p:ph type="body" idx="1"/>
          </p:nvPr>
        </p:nvSpPr>
        <p:spPr bwMode="auto">
          <a:xfrm>
            <a:off x="534670" y="2672165"/>
            <a:ext cx="9624060" cy="42149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err="1"/>
              <a:t>Klikk</a:t>
            </a:r>
            <a:r>
              <a:rPr lang="en-US"/>
              <a:t> for </a:t>
            </a:r>
            <a:r>
              <a:rPr lang="en-US" err="1"/>
              <a:t>å</a:t>
            </a:r>
            <a:r>
              <a:rPr lang="en-US"/>
              <a:t>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140304" name="Rectangle 16"/>
          <p:cNvSpPr>
            <a:spLocks noGrp="1" noChangeArrowheads="1"/>
          </p:cNvSpPr>
          <p:nvPr>
            <p:ph type="dt" sz="half" idx="2"/>
          </p:nvPr>
        </p:nvSpPr>
        <p:spPr bwMode="auto">
          <a:xfrm>
            <a:off x="534671" y="6887095"/>
            <a:ext cx="1696834" cy="52519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053"/>
            </a:lvl1pPr>
          </a:lstStyle>
          <a:p>
            <a:pPr>
              <a:defRPr/>
            </a:pPr>
            <a:endParaRPr lang="en-US"/>
          </a:p>
        </p:txBody>
      </p:sp>
      <p:sp>
        <p:nvSpPr>
          <p:cNvPr id="18" name="TekstSylinder 17"/>
          <p:cNvSpPr txBox="1"/>
          <p:nvPr/>
        </p:nvSpPr>
        <p:spPr>
          <a:xfrm>
            <a:off x="534670" y="420159"/>
            <a:ext cx="9980507" cy="416268"/>
          </a:xfrm>
          <a:prstGeom prst="rect">
            <a:avLst/>
          </a:prstGeom>
          <a:noFill/>
        </p:spPr>
        <p:txBody>
          <a:bodyPr wrap="square" rtlCol="0">
            <a:spAutoFit/>
          </a:bodyPr>
          <a:lstStyle/>
          <a:p>
            <a:r>
              <a:rPr lang="nb-NO" sz="2105" b="1" err="1">
                <a:latin typeface="Times New Roman" pitchFamily="18" charset="0"/>
                <a:cs typeface="Times New Roman" pitchFamily="18" charset="0"/>
              </a:rPr>
              <a:t>NfN</a:t>
            </a:r>
            <a:r>
              <a:rPr lang="nb-NO" sz="2105"/>
              <a:t> – </a:t>
            </a:r>
            <a:r>
              <a:rPr lang="nb-NO" sz="2105">
                <a:latin typeface="Times New Roman" pitchFamily="18" charset="0"/>
                <a:cs typeface="Times New Roman" pitchFamily="18" charset="0"/>
              </a:rPr>
              <a:t>Norwegian </a:t>
            </a:r>
            <a:r>
              <a:rPr lang="nb-NO" sz="2105" err="1">
                <a:latin typeface="Times New Roman" pitchFamily="18" charset="0"/>
                <a:cs typeface="Times New Roman" pitchFamily="18" charset="0"/>
              </a:rPr>
              <a:t>Facility</a:t>
            </a:r>
            <a:r>
              <a:rPr lang="nb-NO" sz="2105">
                <a:latin typeface="Times New Roman" pitchFamily="18" charset="0"/>
                <a:cs typeface="Times New Roman" pitchFamily="18" charset="0"/>
              </a:rPr>
              <a:t> Management Network </a:t>
            </a:r>
            <a:endParaRPr lang="nn-NO" sz="2105"/>
          </a:p>
        </p:txBody>
      </p:sp>
    </p:spTree>
    <p:extLst>
      <p:ext uri="{BB962C8B-B14F-4D97-AF65-F5344CB8AC3E}">
        <p14:creationId xmlns:p14="http://schemas.microsoft.com/office/powerpoint/2010/main" val="343539039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Lst>
  <p:hf hdr="0" ftr="0" dt="0"/>
  <p:txStyles>
    <p:titleStyle>
      <a:lvl1pPr algn="l" rtl="0" eaLnBrk="1" fontAlgn="base" hangingPunct="1">
        <a:spcBef>
          <a:spcPct val="0"/>
        </a:spcBef>
        <a:spcAft>
          <a:spcPct val="0"/>
        </a:spcAft>
        <a:defRPr sz="3859">
          <a:solidFill>
            <a:schemeClr val="tx1"/>
          </a:solidFill>
          <a:latin typeface="+mj-lt"/>
          <a:ea typeface="+mj-ea"/>
          <a:cs typeface="+mj-cs"/>
        </a:defRPr>
      </a:lvl1pPr>
      <a:lvl2pPr algn="l" rtl="0" eaLnBrk="1" fontAlgn="base" hangingPunct="1">
        <a:spcBef>
          <a:spcPct val="0"/>
        </a:spcBef>
        <a:spcAft>
          <a:spcPct val="0"/>
        </a:spcAft>
        <a:defRPr sz="3859">
          <a:solidFill>
            <a:schemeClr val="tx1"/>
          </a:solidFill>
          <a:latin typeface="Arial" charset="0"/>
        </a:defRPr>
      </a:lvl2pPr>
      <a:lvl3pPr algn="l" rtl="0" eaLnBrk="1" fontAlgn="base" hangingPunct="1">
        <a:spcBef>
          <a:spcPct val="0"/>
        </a:spcBef>
        <a:spcAft>
          <a:spcPct val="0"/>
        </a:spcAft>
        <a:defRPr sz="3859">
          <a:solidFill>
            <a:schemeClr val="tx1"/>
          </a:solidFill>
          <a:latin typeface="Arial" charset="0"/>
        </a:defRPr>
      </a:lvl3pPr>
      <a:lvl4pPr algn="l" rtl="0" eaLnBrk="1" fontAlgn="base" hangingPunct="1">
        <a:spcBef>
          <a:spcPct val="0"/>
        </a:spcBef>
        <a:spcAft>
          <a:spcPct val="0"/>
        </a:spcAft>
        <a:defRPr sz="3859">
          <a:solidFill>
            <a:schemeClr val="tx1"/>
          </a:solidFill>
          <a:latin typeface="Arial" charset="0"/>
        </a:defRPr>
      </a:lvl4pPr>
      <a:lvl5pPr algn="l" rtl="0" eaLnBrk="1" fontAlgn="base" hangingPunct="1">
        <a:spcBef>
          <a:spcPct val="0"/>
        </a:spcBef>
        <a:spcAft>
          <a:spcPct val="0"/>
        </a:spcAft>
        <a:defRPr sz="3859">
          <a:solidFill>
            <a:schemeClr val="tx1"/>
          </a:solidFill>
          <a:latin typeface="Arial" charset="0"/>
        </a:defRPr>
      </a:lvl5pPr>
      <a:lvl6pPr marL="401010" algn="l" rtl="0" eaLnBrk="1" fontAlgn="base" hangingPunct="1">
        <a:spcBef>
          <a:spcPct val="0"/>
        </a:spcBef>
        <a:spcAft>
          <a:spcPct val="0"/>
        </a:spcAft>
        <a:defRPr sz="3859">
          <a:solidFill>
            <a:schemeClr val="tx1"/>
          </a:solidFill>
          <a:latin typeface="Arial" charset="0"/>
        </a:defRPr>
      </a:lvl6pPr>
      <a:lvl7pPr marL="802020" algn="l" rtl="0" eaLnBrk="1" fontAlgn="base" hangingPunct="1">
        <a:spcBef>
          <a:spcPct val="0"/>
        </a:spcBef>
        <a:spcAft>
          <a:spcPct val="0"/>
        </a:spcAft>
        <a:defRPr sz="3859">
          <a:solidFill>
            <a:schemeClr val="tx1"/>
          </a:solidFill>
          <a:latin typeface="Arial" charset="0"/>
        </a:defRPr>
      </a:lvl7pPr>
      <a:lvl8pPr marL="1203030" algn="l" rtl="0" eaLnBrk="1" fontAlgn="base" hangingPunct="1">
        <a:spcBef>
          <a:spcPct val="0"/>
        </a:spcBef>
        <a:spcAft>
          <a:spcPct val="0"/>
        </a:spcAft>
        <a:defRPr sz="3859">
          <a:solidFill>
            <a:schemeClr val="tx1"/>
          </a:solidFill>
          <a:latin typeface="Arial" charset="0"/>
        </a:defRPr>
      </a:lvl8pPr>
      <a:lvl9pPr marL="1604040" algn="l" rtl="0" eaLnBrk="1" fontAlgn="base" hangingPunct="1">
        <a:spcBef>
          <a:spcPct val="0"/>
        </a:spcBef>
        <a:spcAft>
          <a:spcPct val="0"/>
        </a:spcAft>
        <a:defRPr sz="3859">
          <a:solidFill>
            <a:schemeClr val="tx1"/>
          </a:solidFill>
          <a:latin typeface="Arial" charset="0"/>
        </a:defRPr>
      </a:lvl9pPr>
    </p:titleStyle>
    <p:bodyStyle>
      <a:lvl1pPr marL="300758" indent="-300758" algn="l" rtl="0" eaLnBrk="1" fontAlgn="base" hangingPunct="1">
        <a:spcBef>
          <a:spcPct val="20000"/>
        </a:spcBef>
        <a:spcAft>
          <a:spcPct val="0"/>
        </a:spcAft>
        <a:buClr>
          <a:schemeClr val="bg2"/>
        </a:buClr>
        <a:buSzPct val="75000"/>
        <a:buFont typeface="Wingdings" pitchFamily="2" charset="2"/>
        <a:buChar char="n"/>
        <a:defRPr sz="2807">
          <a:solidFill>
            <a:schemeClr val="tx1"/>
          </a:solidFill>
          <a:latin typeface="+mn-lt"/>
          <a:ea typeface="+mn-ea"/>
          <a:cs typeface="+mn-cs"/>
        </a:defRPr>
      </a:lvl1pPr>
      <a:lvl2pPr marL="651641" indent="-250631" algn="l" rtl="0" eaLnBrk="1" fontAlgn="base" hangingPunct="1">
        <a:spcBef>
          <a:spcPct val="20000"/>
        </a:spcBef>
        <a:spcAft>
          <a:spcPct val="0"/>
        </a:spcAft>
        <a:buClr>
          <a:schemeClr val="accent2"/>
        </a:buClr>
        <a:buSzPct val="80000"/>
        <a:buFont typeface="Wingdings" pitchFamily="2" charset="2"/>
        <a:buChar char="¨"/>
        <a:defRPr sz="2456">
          <a:solidFill>
            <a:schemeClr val="tx1"/>
          </a:solidFill>
          <a:latin typeface="+mn-lt"/>
        </a:defRPr>
      </a:lvl2pPr>
      <a:lvl3pPr marL="1002525" indent="-200505" algn="l" rtl="0" eaLnBrk="1" fontAlgn="base" hangingPunct="1">
        <a:spcBef>
          <a:spcPct val="20000"/>
        </a:spcBef>
        <a:spcAft>
          <a:spcPct val="0"/>
        </a:spcAft>
        <a:buClr>
          <a:schemeClr val="bg2"/>
        </a:buClr>
        <a:buSzPct val="65000"/>
        <a:buFont typeface="Wingdings" pitchFamily="2" charset="2"/>
        <a:buChar char="n"/>
        <a:defRPr sz="2105">
          <a:solidFill>
            <a:schemeClr val="tx1"/>
          </a:solidFill>
          <a:latin typeface="+mn-lt"/>
        </a:defRPr>
      </a:lvl3pPr>
      <a:lvl4pPr marL="1403535" indent="-200505" algn="l" rtl="0" eaLnBrk="1" fontAlgn="base" hangingPunct="1">
        <a:spcBef>
          <a:spcPct val="20000"/>
        </a:spcBef>
        <a:spcAft>
          <a:spcPct val="0"/>
        </a:spcAft>
        <a:buClr>
          <a:schemeClr val="accent2"/>
        </a:buClr>
        <a:buSzPct val="70000"/>
        <a:buFont typeface="Wingdings" pitchFamily="2" charset="2"/>
        <a:buChar char="¨"/>
        <a:defRPr sz="1754">
          <a:solidFill>
            <a:schemeClr val="tx1"/>
          </a:solidFill>
          <a:latin typeface="+mn-lt"/>
        </a:defRPr>
      </a:lvl4pPr>
      <a:lvl5pPr marL="1804546" indent="-200505" algn="l" rtl="0" eaLnBrk="1" fontAlgn="base" hangingPunct="1">
        <a:spcBef>
          <a:spcPct val="20000"/>
        </a:spcBef>
        <a:spcAft>
          <a:spcPct val="0"/>
        </a:spcAft>
        <a:buClr>
          <a:schemeClr val="bg2"/>
        </a:buClr>
        <a:buFont typeface="Wingdings" pitchFamily="2" charset="2"/>
        <a:buChar char="§"/>
        <a:defRPr sz="1754">
          <a:solidFill>
            <a:schemeClr val="tx1"/>
          </a:solidFill>
          <a:latin typeface="+mn-lt"/>
        </a:defRPr>
      </a:lvl5pPr>
      <a:lvl6pPr marL="2205556" indent="-200505" algn="l" rtl="0" eaLnBrk="1" fontAlgn="base" hangingPunct="1">
        <a:spcBef>
          <a:spcPct val="20000"/>
        </a:spcBef>
        <a:spcAft>
          <a:spcPct val="0"/>
        </a:spcAft>
        <a:buClr>
          <a:schemeClr val="bg2"/>
        </a:buClr>
        <a:buFont typeface="Wingdings" pitchFamily="2" charset="2"/>
        <a:buChar char="§"/>
        <a:defRPr sz="1754">
          <a:solidFill>
            <a:schemeClr val="tx1"/>
          </a:solidFill>
          <a:latin typeface="+mn-lt"/>
        </a:defRPr>
      </a:lvl6pPr>
      <a:lvl7pPr marL="2606566" indent="-200505" algn="l" rtl="0" eaLnBrk="1" fontAlgn="base" hangingPunct="1">
        <a:spcBef>
          <a:spcPct val="20000"/>
        </a:spcBef>
        <a:spcAft>
          <a:spcPct val="0"/>
        </a:spcAft>
        <a:buClr>
          <a:schemeClr val="bg2"/>
        </a:buClr>
        <a:buFont typeface="Wingdings" pitchFamily="2" charset="2"/>
        <a:buChar char="§"/>
        <a:defRPr sz="1754">
          <a:solidFill>
            <a:schemeClr val="tx1"/>
          </a:solidFill>
          <a:latin typeface="+mn-lt"/>
        </a:defRPr>
      </a:lvl7pPr>
      <a:lvl8pPr marL="3007576" indent="-200505" algn="l" rtl="0" eaLnBrk="1" fontAlgn="base" hangingPunct="1">
        <a:spcBef>
          <a:spcPct val="20000"/>
        </a:spcBef>
        <a:spcAft>
          <a:spcPct val="0"/>
        </a:spcAft>
        <a:buClr>
          <a:schemeClr val="bg2"/>
        </a:buClr>
        <a:buFont typeface="Wingdings" pitchFamily="2" charset="2"/>
        <a:buChar char="§"/>
        <a:defRPr sz="1754">
          <a:solidFill>
            <a:schemeClr val="tx1"/>
          </a:solidFill>
          <a:latin typeface="+mn-lt"/>
        </a:defRPr>
      </a:lvl8pPr>
      <a:lvl9pPr marL="3408586" indent="-200505" algn="l" rtl="0" eaLnBrk="1" fontAlgn="base" hangingPunct="1">
        <a:spcBef>
          <a:spcPct val="20000"/>
        </a:spcBef>
        <a:spcAft>
          <a:spcPct val="0"/>
        </a:spcAft>
        <a:buClr>
          <a:schemeClr val="bg2"/>
        </a:buClr>
        <a:buFont typeface="Wingdings" pitchFamily="2" charset="2"/>
        <a:buChar char="§"/>
        <a:defRPr sz="1754">
          <a:solidFill>
            <a:schemeClr val="tx1"/>
          </a:solidFill>
          <a:latin typeface="+mn-lt"/>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AE88FE9-8251-4965-31B2-45514519E854}"/>
              </a:ext>
            </a:extLst>
          </p:cNvPr>
          <p:cNvGraphicFramePr>
            <a:graphicFrameLocks noChangeAspect="1"/>
          </p:cNvGraphicFramePr>
          <p:nvPr userDrawn="1">
            <p:custDataLst>
              <p:tags r:id="rId46"/>
            </p:custDataLst>
            <p:extLst>
              <p:ext uri="{D42A27DB-BD31-4B8C-83A1-F6EECF244321}">
                <p14:modId xmlns:p14="http://schemas.microsoft.com/office/powerpoint/2010/main" val="230469402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2" name="Objekt 1" hidden="1">
                        <a:extLst>
                          <a:ext uri="{FF2B5EF4-FFF2-40B4-BE49-F238E27FC236}">
                            <a16:creationId xmlns:a16="http://schemas.microsoft.com/office/drawing/2014/main" id="{4AE88FE9-8251-4965-31B2-45514519E854}"/>
                          </a:ext>
                        </a:extLst>
                      </p:cNvPr>
                      <p:cNvPicPr/>
                      <p:nvPr/>
                    </p:nvPicPr>
                    <p:blipFill>
                      <a:blip r:embed="rId48"/>
                      <a:stretch>
                        <a:fillRect/>
                      </a:stretch>
                    </p:blipFill>
                    <p:spPr>
                      <a:xfrm>
                        <a:off x="1393" y="1751"/>
                        <a:ext cx="1393" cy="1751"/>
                      </a:xfrm>
                      <a:prstGeom prst="rect">
                        <a:avLst/>
                      </a:prstGeom>
                    </p:spPr>
                  </p:pic>
                </p:oleObj>
              </mc:Fallback>
            </mc:AlternateContent>
          </a:graphicData>
        </a:graphic>
      </p:graphicFrame>
      <p:pic>
        <p:nvPicPr>
          <p:cNvPr id="3" name="Bilde 2">
            <a:extLst>
              <a:ext uri="{FF2B5EF4-FFF2-40B4-BE49-F238E27FC236}">
                <a16:creationId xmlns:a16="http://schemas.microsoft.com/office/drawing/2014/main" id="{C649B6C3-74CE-84C6-46F5-9EA067CB3CA2}"/>
              </a:ext>
            </a:extLst>
          </p:cNvPr>
          <p:cNvPicPr>
            <a:picLocks noChangeAspect="1"/>
          </p:cNvPicPr>
          <p:nvPr userDrawn="1"/>
        </p:nvPicPr>
        <p:blipFill>
          <a:blip r:embed="rId49"/>
          <a:stretch>
            <a:fillRect/>
          </a:stretch>
        </p:blipFill>
        <p:spPr>
          <a:xfrm>
            <a:off x="10897003" y="1338488"/>
            <a:ext cx="1437126" cy="2983541"/>
          </a:xfrm>
          <a:prstGeom prst="rect">
            <a:avLst/>
          </a:prstGeom>
        </p:spPr>
      </p:pic>
      <p:sp>
        <p:nvSpPr>
          <p:cNvPr id="4" name="Frihåndsform: figur 3">
            <a:extLst>
              <a:ext uri="{FF2B5EF4-FFF2-40B4-BE49-F238E27FC236}">
                <a16:creationId xmlns:a16="http://schemas.microsoft.com/office/drawing/2014/main" id="{8020E415-AB2B-7F21-A004-E863FC56A40F}"/>
              </a:ext>
            </a:extLst>
          </p:cNvPr>
          <p:cNvSpPr/>
          <p:nvPr userDrawn="1"/>
        </p:nvSpPr>
        <p:spPr>
          <a:xfrm>
            <a:off x="10897002" y="1338487"/>
            <a:ext cx="1437126" cy="2983540"/>
          </a:xfrm>
          <a:custGeom>
            <a:avLst/>
            <a:gdLst>
              <a:gd name="connsiteX0" fmla="*/ 23134 w 1638528"/>
              <a:gd name="connsiteY0" fmla="*/ 1340229 h 2705477"/>
              <a:gd name="connsiteX1" fmla="*/ 23134 w 1638528"/>
              <a:gd name="connsiteY1" fmla="*/ 2070479 h 2705477"/>
              <a:gd name="connsiteX2" fmla="*/ 1616984 w 1638528"/>
              <a:gd name="connsiteY2" fmla="*/ 2070479 h 2705477"/>
              <a:gd name="connsiteX3" fmla="*/ 1616984 w 1638528"/>
              <a:gd name="connsiteY3" fmla="*/ 1340229 h 2705477"/>
              <a:gd name="connsiteX4" fmla="*/ 23134 w 1638528"/>
              <a:gd name="connsiteY4" fmla="*/ 292479 h 2705477"/>
              <a:gd name="connsiteX5" fmla="*/ 23134 w 1638528"/>
              <a:gd name="connsiteY5" fmla="*/ 457579 h 2705477"/>
              <a:gd name="connsiteX6" fmla="*/ 1616984 w 1638528"/>
              <a:gd name="connsiteY6" fmla="*/ 457579 h 2705477"/>
              <a:gd name="connsiteX7" fmla="*/ 1616984 w 1638528"/>
              <a:gd name="connsiteY7" fmla="*/ 292479 h 2705477"/>
              <a:gd name="connsiteX8" fmla="*/ 0 w 1638528"/>
              <a:gd name="connsiteY8" fmla="*/ 0 h 2705477"/>
              <a:gd name="connsiteX9" fmla="*/ 1638528 w 1638528"/>
              <a:gd name="connsiteY9" fmla="*/ 0 h 2705477"/>
              <a:gd name="connsiteX10" fmla="*/ 1638528 w 1638528"/>
              <a:gd name="connsiteY10" fmla="*/ 2705477 h 2705477"/>
              <a:gd name="connsiteX11" fmla="*/ 0 w 1638528"/>
              <a:gd name="connsiteY11" fmla="*/ 2705477 h 270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8528" h="2705477">
                <a:moveTo>
                  <a:pt x="23134" y="1340229"/>
                </a:moveTo>
                <a:lnTo>
                  <a:pt x="23134" y="2070479"/>
                </a:lnTo>
                <a:lnTo>
                  <a:pt x="1616984" y="2070479"/>
                </a:lnTo>
                <a:lnTo>
                  <a:pt x="1616984" y="1340229"/>
                </a:lnTo>
                <a:close/>
                <a:moveTo>
                  <a:pt x="23134" y="292479"/>
                </a:moveTo>
                <a:lnTo>
                  <a:pt x="23134" y="457579"/>
                </a:lnTo>
                <a:lnTo>
                  <a:pt x="1616984" y="457579"/>
                </a:lnTo>
                <a:lnTo>
                  <a:pt x="1616984" y="292479"/>
                </a:lnTo>
                <a:close/>
                <a:moveTo>
                  <a:pt x="0" y="0"/>
                </a:moveTo>
                <a:lnTo>
                  <a:pt x="1638528" y="0"/>
                </a:lnTo>
                <a:lnTo>
                  <a:pt x="1638528" y="2705477"/>
                </a:lnTo>
                <a:lnTo>
                  <a:pt x="0" y="2705477"/>
                </a:lnTo>
                <a:close/>
              </a:path>
            </a:pathLst>
          </a:custGeom>
          <a:solidFill>
            <a:schemeClr val="bg1">
              <a:lumMod val="75000"/>
              <a:alpha val="5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5" name="Rektangel 4">
            <a:extLst>
              <a:ext uri="{FF2B5EF4-FFF2-40B4-BE49-F238E27FC236}">
                <a16:creationId xmlns:a16="http://schemas.microsoft.com/office/drawing/2014/main" id="{A5F9DFED-4E1C-6DA5-DE0A-B402CE7AC250}"/>
              </a:ext>
            </a:extLst>
          </p:cNvPr>
          <p:cNvSpPr/>
          <p:nvPr userDrawn="1"/>
        </p:nvSpPr>
        <p:spPr>
          <a:xfrm>
            <a:off x="10917293" y="1655773"/>
            <a:ext cx="1397939" cy="18206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4C80EBC5-AC1C-CC03-1196-F1D03FFF4E5C}"/>
              </a:ext>
            </a:extLst>
          </p:cNvPr>
          <p:cNvSpPr/>
          <p:nvPr userDrawn="1"/>
        </p:nvSpPr>
        <p:spPr>
          <a:xfrm>
            <a:off x="10917293" y="2816462"/>
            <a:ext cx="1397939" cy="8053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TekstSylinder 30">
            <a:extLst>
              <a:ext uri="{FF2B5EF4-FFF2-40B4-BE49-F238E27FC236}">
                <a16:creationId xmlns:a16="http://schemas.microsoft.com/office/drawing/2014/main" id="{85B71985-F112-0580-FB13-A5F10CD9D2AD}"/>
              </a:ext>
            </a:extLst>
          </p:cNvPr>
          <p:cNvSpPr txBox="1"/>
          <p:nvPr userDrawn="1"/>
        </p:nvSpPr>
        <p:spPr>
          <a:xfrm>
            <a:off x="10917293" y="77029"/>
            <a:ext cx="1397939" cy="728276"/>
          </a:xfrm>
          <a:prstGeom prst="rect">
            <a:avLst/>
          </a:prstGeom>
          <a:noFill/>
        </p:spPr>
        <p:txBody>
          <a:bodyPr wrap="square" lIns="0" tIns="0" rIns="0" bIns="0" rtlCol="0">
            <a:spAutoFit/>
          </a:bodyPr>
          <a:lstStyle/>
          <a:p>
            <a:pPr algn="l">
              <a:lnSpc>
                <a:spcPct val="105000"/>
              </a:lnSpc>
            </a:pPr>
            <a:r>
              <a:rPr lang="nb-NO" sz="1140">
                <a:solidFill>
                  <a:schemeClr val="accent1"/>
                </a:solidFill>
                <a:latin typeface="Fold Grotesque Pro Medium" panose="020B0603030201040103" pitchFamily="34" charset="0"/>
              </a:rPr>
              <a:t>Farger</a:t>
            </a:r>
          </a:p>
          <a:p>
            <a:pPr algn="l">
              <a:lnSpc>
                <a:spcPct val="105000"/>
              </a:lnSpc>
            </a:pPr>
            <a:r>
              <a:rPr lang="nb-NO" sz="1140">
                <a:solidFill>
                  <a:schemeClr val="accent1"/>
                </a:solidFill>
                <a:latin typeface="Fold Grotesque Pro Light" panose="020B0303030201040103" pitchFamily="34" charset="0"/>
              </a:rPr>
              <a:t>Bruk ett av de egendefinerte fargene som vist under. </a:t>
            </a:r>
            <a:r>
              <a:rPr lang="nb-NO" sz="1140">
                <a:solidFill>
                  <a:schemeClr val="accent1"/>
                </a:solidFill>
                <a:latin typeface="Fold Grotesque Pro Light" panose="020B0303030201040103" pitchFamily="34" charset="0"/>
                <a:sym typeface="Wingdings" panose="05000000000000000000" pitchFamily="2" charset="2"/>
              </a:rPr>
              <a:t></a:t>
            </a:r>
            <a:endParaRPr lang="nb-NO" sz="1140">
              <a:solidFill>
                <a:schemeClr val="accent1"/>
              </a:solidFill>
              <a:latin typeface="Fold Grotesque Pro Light" panose="020B0303030201040103" pitchFamily="34" charset="0"/>
            </a:endParaRPr>
          </a:p>
        </p:txBody>
      </p:sp>
    </p:spTree>
    <p:extLst>
      <p:ext uri="{BB962C8B-B14F-4D97-AF65-F5344CB8AC3E}">
        <p14:creationId xmlns:p14="http://schemas.microsoft.com/office/powerpoint/2010/main" val="183337340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Lst>
  <p:hf hdr="0" ftr="0" dt="0"/>
  <p:txStyles>
    <p:titleStyle>
      <a:lvl1pPr algn="l" defTabSz="802020"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78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2">
          <p15:clr>
            <a:srgbClr val="F26B43"/>
          </p15:clr>
        </p15:guide>
        <p15:guide id="2" pos="166">
          <p15:clr>
            <a:srgbClr val="F26B43"/>
          </p15:clr>
        </p15:guide>
        <p15:guide id="3" orient="horz" pos="4178">
          <p15:clr>
            <a:srgbClr val="F26B43"/>
          </p15:clr>
        </p15:guide>
        <p15:guide id="4" pos="7514">
          <p15:clr>
            <a:srgbClr val="F26B43"/>
          </p15:clr>
        </p15:guide>
        <p15:guide id="5" pos="5155">
          <p15:clr>
            <a:srgbClr val="F26B43"/>
          </p15:clr>
        </p15:guide>
        <p15:guide id="6" pos="1277">
          <p15:clr>
            <a:srgbClr val="F26B43"/>
          </p15:clr>
        </p15:guide>
        <p15:guide id="7" pos="1413">
          <p15:clr>
            <a:srgbClr val="F26B43"/>
          </p15:clr>
        </p15:guide>
        <p15:guide id="8" pos="2525">
          <p15:clr>
            <a:srgbClr val="F26B43"/>
          </p15:clr>
        </p15:guide>
        <p15:guide id="9" pos="2661">
          <p15:clr>
            <a:srgbClr val="F26B43"/>
          </p15:clr>
        </p15:guide>
        <p15:guide id="10" pos="3772">
          <p15:clr>
            <a:srgbClr val="F26B43"/>
          </p15:clr>
        </p15:guide>
        <p15:guide id="11" pos="3908">
          <p15:clr>
            <a:srgbClr val="F26B43"/>
          </p15:clr>
        </p15:guide>
        <p15:guide id="13" pos="6403">
          <p15:clr>
            <a:srgbClr val="F26B43"/>
          </p15:clr>
        </p15:guide>
        <p15:guide id="14" pos="6267">
          <p15:clr>
            <a:srgbClr val="F26B43"/>
          </p15:clr>
        </p15:guide>
        <p15:guide id="15" pos="5019">
          <p15:clr>
            <a:srgbClr val="F26B43"/>
          </p15:clr>
        </p15:guide>
        <p15:guide id="16" orient="horz" pos="822">
          <p15:clr>
            <a:srgbClr val="F26B43"/>
          </p15:clr>
        </p15:guide>
        <p15:guide id="17" orient="horz" pos="686">
          <p15:clr>
            <a:srgbClr val="F26B43"/>
          </p15:clr>
        </p15:guide>
        <p15:guide id="20" orient="horz" pos="4042">
          <p15:clr>
            <a:srgbClr val="F26B43"/>
          </p15:clr>
        </p15:guide>
        <p15:guide id="21" orient="horz" pos="3906">
          <p15:clr>
            <a:srgbClr val="F26B43"/>
          </p15:clr>
        </p15:guide>
        <p15:guide id="22">
          <p15:clr>
            <a:srgbClr val="000000"/>
          </p15:clr>
        </p15:guide>
        <p15:guide id="23" pos="7680">
          <p15:clr>
            <a:srgbClr val="000000"/>
          </p15:clr>
        </p15:guide>
        <p15:guide id="24" orient="horz">
          <p15:clr>
            <a:srgbClr val="000000"/>
          </p15:clr>
        </p15:guide>
        <p15:guide id="25" orient="horz" pos="4320">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21.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11.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18" Type="http://schemas.openxmlformats.org/officeDocument/2006/relationships/image" Target="../media/image60.sv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17" Type="http://schemas.openxmlformats.org/officeDocument/2006/relationships/image" Target="../media/image59.png"/><Relationship Id="rId2" Type="http://schemas.openxmlformats.org/officeDocument/2006/relationships/notesSlide" Target="../notesSlides/notesSlide10.xml"/><Relationship Id="rId16" Type="http://schemas.openxmlformats.org/officeDocument/2006/relationships/image" Target="../media/image58.svg"/><Relationship Id="rId20" Type="http://schemas.openxmlformats.org/officeDocument/2006/relationships/image" Target="../media/image62.svg"/><Relationship Id="rId1" Type="http://schemas.openxmlformats.org/officeDocument/2006/relationships/slideLayout" Target="../slideLayouts/slideLayout23.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svg"/><Relationship Id="rId19" Type="http://schemas.openxmlformats.org/officeDocument/2006/relationships/image" Target="../media/image61.png"/><Relationship Id="rId4" Type="http://schemas.openxmlformats.org/officeDocument/2006/relationships/image" Target="../media/image46.svg"/><Relationship Id="rId9" Type="http://schemas.openxmlformats.org/officeDocument/2006/relationships/image" Target="../media/image51.png"/><Relationship Id="rId14" Type="http://schemas.openxmlformats.org/officeDocument/2006/relationships/image" Target="../media/image56.svg"/></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7.jpeg"/><Relationship Id="rId2" Type="http://schemas.openxmlformats.org/officeDocument/2006/relationships/slideLayout" Target="../slideLayouts/slideLayout22.xml"/><Relationship Id="rId1" Type="http://schemas.openxmlformats.org/officeDocument/2006/relationships/tags" Target="../tags/tag40.xml"/><Relationship Id="rId6" Type="http://schemas.openxmlformats.org/officeDocument/2006/relationships/image" Target="../media/image66.jpeg"/><Relationship Id="rId5" Type="http://schemas.openxmlformats.org/officeDocument/2006/relationships/image" Target="../media/image65.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2.xml"/><Relationship Id="rId7" Type="http://schemas.openxmlformats.org/officeDocument/2006/relationships/image" Target="../media/image22.jpeg"/><Relationship Id="rId2" Type="http://schemas.openxmlformats.org/officeDocument/2006/relationships/slideLayout" Target="../slideLayouts/slideLayout26.xml"/><Relationship Id="rId1" Type="http://schemas.openxmlformats.org/officeDocument/2006/relationships/tags" Target="../tags/tag25.x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notesSlide" Target="../notesSlides/notesSlide4.xml"/><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slideLayout" Target="../slideLayouts/slideLayout23.xml"/><Relationship Id="rId1" Type="http://schemas.openxmlformats.org/officeDocument/2006/relationships/tags" Target="../tags/tag26.xml"/><Relationship Id="rId6" Type="http://schemas.openxmlformats.org/officeDocument/2006/relationships/image" Target="../media/image29.png"/><Relationship Id="rId11" Type="http://schemas.openxmlformats.org/officeDocument/2006/relationships/image" Target="../media/image34.jpeg"/><Relationship Id="rId5" Type="http://schemas.openxmlformats.org/officeDocument/2006/relationships/image" Target="../media/image28.emf"/><Relationship Id="rId10" Type="http://schemas.openxmlformats.org/officeDocument/2006/relationships/image" Target="../media/image33.jpeg"/><Relationship Id="rId4" Type="http://schemas.openxmlformats.org/officeDocument/2006/relationships/oleObject" Target="../embeddings/oleObject26.bin"/><Relationship Id="rId9" Type="http://schemas.openxmlformats.org/officeDocument/2006/relationships/image" Target="../media/image32.jpeg"/></Relationships>
</file>

<file path=ppt/slides/_rels/slide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39.jpeg"/><Relationship Id="rId4" Type="http://schemas.openxmlformats.org/officeDocument/2006/relationships/image" Target="../media/image38.jpe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22.xml"/><Relationship Id="rId7" Type="http://schemas.openxmlformats.org/officeDocument/2006/relationships/image" Target="../media/image4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0.emf"/><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29.xml"/><Relationship Id="rId6" Type="http://schemas.openxmlformats.org/officeDocument/2006/relationships/image" Target="../media/image43.png"/><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77B2D-A29F-4F20-DC33-D38875DDC1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CDF3847-B1F9-CCF5-E5C2-139F1C2A1995}"/>
              </a:ext>
            </a:extLst>
          </p:cNvPr>
          <p:cNvSpPr>
            <a:spLocks noGrp="1"/>
          </p:cNvSpPr>
          <p:nvPr>
            <p:ph type="body" sz="quarter" idx="11"/>
          </p:nvPr>
        </p:nvSpPr>
        <p:spPr>
          <a:xfrm>
            <a:off x="5441382" y="4316095"/>
            <a:ext cx="5020885" cy="589352"/>
          </a:xfrm>
        </p:spPr>
        <p:txBody>
          <a:bodyPr/>
          <a:lstStyle/>
          <a:p>
            <a:r>
              <a:rPr lang="nb-NO" dirty="0"/>
              <a:t>Hjelp vi skal flytte!</a:t>
            </a:r>
            <a:endParaRPr lang="ne-NP" dirty="0"/>
          </a:p>
        </p:txBody>
      </p:sp>
      <p:sp>
        <p:nvSpPr>
          <p:cNvPr id="3" name="Text Placeholder 1">
            <a:extLst>
              <a:ext uri="{FF2B5EF4-FFF2-40B4-BE49-F238E27FC236}">
                <a16:creationId xmlns:a16="http://schemas.microsoft.com/office/drawing/2014/main" id="{BA4CE796-8664-F6F5-1CF3-72ADB51752F3}"/>
              </a:ext>
            </a:extLst>
          </p:cNvPr>
          <p:cNvSpPr txBox="1">
            <a:spLocks/>
          </p:cNvSpPr>
          <p:nvPr/>
        </p:nvSpPr>
        <p:spPr>
          <a:xfrm>
            <a:off x="7029696" y="6312675"/>
            <a:ext cx="3432571" cy="367426"/>
          </a:xfrm>
          <a:prstGeom prst="rect">
            <a:avLst/>
          </a:prstGeom>
        </p:spPr>
        <p:txBody>
          <a:bodyPr lIns="63150" tIns="0" rIns="0" bIns="0"/>
          <a:lstStyle>
            <a:lvl1pPr marL="0" indent="0" algn="l" defTabSz="914400" rtl="0" eaLnBrk="1" latinLnBrk="0" hangingPunct="1">
              <a:lnSpc>
                <a:spcPct val="105000"/>
              </a:lnSpc>
              <a:spcBef>
                <a:spcPts val="0"/>
              </a:spcBef>
              <a:buFontTx/>
              <a:buNone/>
              <a:defRPr sz="3350" kern="1200">
                <a:solidFill>
                  <a:schemeClr val="accent2"/>
                </a:solidFill>
                <a:latin typeface="Fold Grotesque Pro Light" panose="020B0303030201040103"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802020"/>
            <a:r>
              <a:rPr lang="nb-NO" sz="2105" dirty="0" err="1">
                <a:solidFill>
                  <a:srgbClr val="FF7474"/>
                </a:solidFill>
              </a:rPr>
              <a:t>NfN</a:t>
            </a:r>
            <a:r>
              <a:rPr lang="nb-NO" sz="2105" dirty="0">
                <a:solidFill>
                  <a:srgbClr val="FF7474"/>
                </a:solidFill>
              </a:rPr>
              <a:t> - 13. November 2025</a:t>
            </a:r>
            <a:endParaRPr lang="ne-NP" sz="2105" dirty="0">
              <a:solidFill>
                <a:srgbClr val="FF7474"/>
              </a:solidFill>
            </a:endParaRPr>
          </a:p>
        </p:txBody>
      </p:sp>
    </p:spTree>
    <p:extLst>
      <p:ext uri="{BB962C8B-B14F-4D97-AF65-F5344CB8AC3E}">
        <p14:creationId xmlns:p14="http://schemas.microsoft.com/office/powerpoint/2010/main" val="15474869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37CE-8F34-3BAA-98B1-00A3C83FA3D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4A63FA1-585B-0D47-BD49-A51FEEF6FBBE}"/>
              </a:ext>
            </a:extLst>
          </p:cNvPr>
          <p:cNvSpPr>
            <a:spLocks noGrp="1"/>
          </p:cNvSpPr>
          <p:nvPr>
            <p:ph type="body" sz="quarter" idx="11"/>
          </p:nvPr>
        </p:nvSpPr>
        <p:spPr/>
        <p:txBody>
          <a:bodyPr/>
          <a:lstStyle/>
          <a:p>
            <a:r>
              <a:rPr lang="nb-NO" dirty="0"/>
              <a:t>Fra innsikt til nye lokaler</a:t>
            </a:r>
          </a:p>
        </p:txBody>
      </p:sp>
      <p:sp>
        <p:nvSpPr>
          <p:cNvPr id="3" name="Text Placeholder 2">
            <a:extLst>
              <a:ext uri="{FF2B5EF4-FFF2-40B4-BE49-F238E27FC236}">
                <a16:creationId xmlns:a16="http://schemas.microsoft.com/office/drawing/2014/main" id="{9156B04D-C7A8-B6A3-B4E3-46660557AA98}"/>
              </a:ext>
            </a:extLst>
          </p:cNvPr>
          <p:cNvSpPr>
            <a:spLocks noGrp="1"/>
          </p:cNvSpPr>
          <p:nvPr>
            <p:ph type="body" sz="quarter" idx="13"/>
          </p:nvPr>
        </p:nvSpPr>
        <p:spPr>
          <a:xfrm>
            <a:off x="10462202" y="7247071"/>
            <a:ext cx="64" cy="97271"/>
          </a:xfrm>
        </p:spPr>
        <p:txBody>
          <a:bodyPr/>
          <a:lstStyle/>
          <a:p>
            <a:endParaRPr lang="nb-NO"/>
          </a:p>
        </p:txBody>
      </p:sp>
      <p:sp>
        <p:nvSpPr>
          <p:cNvPr id="5" name="Rounded Rectangle 3">
            <a:extLst>
              <a:ext uri="{FF2B5EF4-FFF2-40B4-BE49-F238E27FC236}">
                <a16:creationId xmlns:a16="http://schemas.microsoft.com/office/drawing/2014/main" id="{DD3083E7-B5D4-7907-EE45-DDC2479A4249}"/>
              </a:ext>
            </a:extLst>
          </p:cNvPr>
          <p:cNvSpPr>
            <a:spLocks/>
          </p:cNvSpPr>
          <p:nvPr/>
        </p:nvSpPr>
        <p:spPr>
          <a:xfrm>
            <a:off x="136684" y="3030747"/>
            <a:ext cx="2005541" cy="2253506"/>
          </a:xfrm>
          <a:prstGeom prst="roundRect">
            <a:avLst>
              <a:gd name="adj" fmla="val 13052"/>
            </a:avLst>
          </a:prstGeom>
          <a:noFill/>
          <a:ln w="12700">
            <a:solidFill>
              <a:srgbClr val="A6A6A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5" tIns="252600" rIns="31575" bIns="40100" numCol="1" spcCol="0" rtlCol="0" fromWordArt="0" anchor="t" anchorCtr="0" forceAA="0" compatLnSpc="1">
            <a:prstTxWarp prst="textNoShape">
              <a:avLst/>
            </a:prstTxWarp>
            <a:noAutofit/>
          </a:bodyPr>
          <a:lstStyle/>
          <a:p>
            <a:pPr algn="ctr"/>
            <a:r>
              <a:rPr lang="nb-NO" sz="965" b="1" dirty="0">
                <a:solidFill>
                  <a:schemeClr val="tx1"/>
                </a:solidFill>
              </a:rPr>
              <a:t>Innsiktsfase</a:t>
            </a:r>
          </a:p>
          <a:p>
            <a:pPr algn="ctr"/>
            <a:endParaRPr lang="nb-NO" sz="965" dirty="0">
              <a:solidFill>
                <a:schemeClr val="tx1"/>
              </a:solidFill>
            </a:endParaRPr>
          </a:p>
          <a:p>
            <a:pPr marL="250626" indent="-250626">
              <a:buFont typeface="Arial" panose="020B0604020202020204" pitchFamily="34" charset="0"/>
              <a:buChar char="•"/>
              <a:defRPr/>
            </a:pPr>
            <a:r>
              <a:rPr lang="nb-NO" sz="965" dirty="0">
                <a:solidFill>
                  <a:schemeClr val="tx1"/>
                </a:solidFill>
              </a:rPr>
              <a:t>Mål og visjon</a:t>
            </a:r>
          </a:p>
          <a:p>
            <a:pPr marL="250626" indent="-250626">
              <a:buFont typeface="Arial" panose="020B0604020202020204" pitchFamily="34" charset="0"/>
              <a:buChar char="•"/>
              <a:defRPr/>
            </a:pPr>
            <a:r>
              <a:rPr lang="nb-NO" sz="965" dirty="0">
                <a:solidFill>
                  <a:schemeClr val="tx1"/>
                </a:solidFill>
              </a:rPr>
              <a:t>Suksesskriterier og </a:t>
            </a:r>
            <a:r>
              <a:rPr lang="nb-NO" sz="965" dirty="0" err="1">
                <a:solidFill>
                  <a:schemeClr val="tx1"/>
                </a:solidFill>
              </a:rPr>
              <a:t>KPIer</a:t>
            </a:r>
            <a:endParaRPr lang="nb-NO" sz="965" dirty="0">
              <a:solidFill>
                <a:schemeClr val="tx1"/>
              </a:solidFill>
            </a:endParaRPr>
          </a:p>
          <a:p>
            <a:pPr marL="250626" indent="-250626">
              <a:buFont typeface="Arial" panose="020B0604020202020204" pitchFamily="34" charset="0"/>
              <a:buChar char="•"/>
              <a:defRPr/>
            </a:pPr>
            <a:r>
              <a:rPr lang="nb-NO" sz="965" dirty="0">
                <a:solidFill>
                  <a:schemeClr val="tx1"/>
                </a:solidFill>
              </a:rPr>
              <a:t>Strategiske føringer  </a:t>
            </a:r>
          </a:p>
          <a:p>
            <a:pPr marL="250626" indent="-250626">
              <a:buFont typeface="Arial" panose="020B0604020202020204" pitchFamily="34" charset="0"/>
              <a:buChar char="•"/>
              <a:defRPr/>
            </a:pPr>
            <a:r>
              <a:rPr lang="nb-NO" sz="965" dirty="0">
                <a:solidFill>
                  <a:schemeClr val="tx1"/>
                </a:solidFill>
              </a:rPr>
              <a:t>Involvere</a:t>
            </a:r>
          </a:p>
          <a:p>
            <a:pPr marL="250626" indent="-250626">
              <a:buFont typeface="Arial" panose="020B0604020202020204" pitchFamily="34" charset="0"/>
              <a:buChar char="•"/>
              <a:defRPr/>
            </a:pPr>
            <a:r>
              <a:rPr lang="nb-NO" sz="965" dirty="0">
                <a:solidFill>
                  <a:schemeClr val="tx1"/>
                </a:solidFill>
              </a:rPr>
              <a:t>Innhente data</a:t>
            </a:r>
          </a:p>
          <a:p>
            <a:pPr marL="250626" indent="-250626">
              <a:buFont typeface="Arial" panose="020B0604020202020204" pitchFamily="34" charset="0"/>
              <a:buChar char="•"/>
              <a:defRPr/>
            </a:pPr>
            <a:r>
              <a:rPr lang="nb-NO" sz="965" dirty="0">
                <a:solidFill>
                  <a:schemeClr val="tx1"/>
                </a:solidFill>
              </a:rPr>
              <a:t>Reiseveisanalyse</a:t>
            </a:r>
          </a:p>
          <a:p>
            <a:pPr marL="250626" indent="-250626">
              <a:buFont typeface="Arial" panose="020B0604020202020204" pitchFamily="34" charset="0"/>
              <a:buChar char="•"/>
              <a:defRPr/>
            </a:pPr>
            <a:endParaRPr lang="nb-NO" sz="965" dirty="0">
              <a:solidFill>
                <a:schemeClr val="tx1"/>
              </a:solidFill>
            </a:endParaRPr>
          </a:p>
        </p:txBody>
      </p:sp>
      <p:grpSp>
        <p:nvGrpSpPr>
          <p:cNvPr id="6" name="Group 5">
            <a:extLst>
              <a:ext uri="{FF2B5EF4-FFF2-40B4-BE49-F238E27FC236}">
                <a16:creationId xmlns:a16="http://schemas.microsoft.com/office/drawing/2014/main" id="{7ADD634E-A080-EB96-F4AB-7F8C562176C2}"/>
              </a:ext>
            </a:extLst>
          </p:cNvPr>
          <p:cNvGrpSpPr/>
          <p:nvPr/>
        </p:nvGrpSpPr>
        <p:grpSpPr>
          <a:xfrm>
            <a:off x="821085" y="2059105"/>
            <a:ext cx="749367" cy="1173185"/>
            <a:chOff x="1141425" y="1479374"/>
            <a:chExt cx="854385" cy="1337598"/>
          </a:xfrm>
        </p:grpSpPr>
        <p:sp>
          <p:nvSpPr>
            <p:cNvPr id="7" name="Tree13" descr="{&quot;Key&quot;:&quot;POWER_USER_SHAPE_ICON&quot;,&quot;Value&quot;:&quot;POWER_USER_SHAPE_ICON_STYLE_1&quot;}">
              <a:extLst>
                <a:ext uri="{FF2B5EF4-FFF2-40B4-BE49-F238E27FC236}">
                  <a16:creationId xmlns:a16="http://schemas.microsoft.com/office/drawing/2014/main" id="{2A26FAFF-EC40-859A-5980-B64DF96B7304}"/>
                </a:ext>
              </a:extLst>
            </p:cNvPr>
            <p:cNvSpPr>
              <a:spLocks noChangeAspect="1" noEditPoints="1"/>
            </p:cNvSpPr>
            <p:nvPr>
              <p:custDataLst>
                <p:tags r:id="rId9"/>
              </p:custDataLst>
            </p:nvPr>
          </p:nvSpPr>
          <p:spPr bwMode="auto">
            <a:xfrm>
              <a:off x="1612546" y="1479374"/>
              <a:ext cx="383264" cy="426849"/>
            </a:xfrm>
            <a:custGeom>
              <a:avLst/>
              <a:gdLst>
                <a:gd name="T0" fmla="*/ 5222 w 8545"/>
                <a:gd name="T1" fmla="*/ 1068 h 9519"/>
                <a:gd name="T2" fmla="*/ 4927 w 8545"/>
                <a:gd name="T3" fmla="*/ 1443 h 9519"/>
                <a:gd name="T4" fmla="*/ 4088 w 8545"/>
                <a:gd name="T5" fmla="*/ 3079 h 9519"/>
                <a:gd name="T6" fmla="*/ 3769 w 8545"/>
                <a:gd name="T7" fmla="*/ 6612 h 9519"/>
                <a:gd name="T8" fmla="*/ 4272 w 8545"/>
                <a:gd name="T9" fmla="*/ 6589 h 9519"/>
                <a:gd name="T10" fmla="*/ 4425 w 8545"/>
                <a:gd name="T11" fmla="*/ 6593 h 9519"/>
                <a:gd name="T12" fmla="*/ 4787 w 8545"/>
                <a:gd name="T13" fmla="*/ 6613 h 9519"/>
                <a:gd name="T14" fmla="*/ 4507 w 8545"/>
                <a:gd name="T15" fmla="*/ 2969 h 9519"/>
                <a:gd name="T16" fmla="*/ 5515 w 8545"/>
                <a:gd name="T17" fmla="*/ 2289 h 9519"/>
                <a:gd name="T18" fmla="*/ 5991 w 8545"/>
                <a:gd name="T19" fmla="*/ 0 h 9519"/>
                <a:gd name="T20" fmla="*/ 4119 w 8545"/>
                <a:gd name="T21" fmla="*/ 1401 h 9519"/>
                <a:gd name="T22" fmla="*/ 3939 w 8545"/>
                <a:gd name="T23" fmla="*/ 2648 h 9519"/>
                <a:gd name="T24" fmla="*/ 5233 w 8545"/>
                <a:gd name="T25" fmla="*/ 1055 h 9519"/>
                <a:gd name="T26" fmla="*/ 5233 w 8545"/>
                <a:gd name="T27" fmla="*/ 1054 h 9519"/>
                <a:gd name="T28" fmla="*/ 5233 w 8545"/>
                <a:gd name="T29" fmla="*/ 1054 h 9519"/>
                <a:gd name="T30" fmla="*/ 5233 w 8545"/>
                <a:gd name="T31" fmla="*/ 1055 h 9519"/>
                <a:gd name="T32" fmla="*/ 5233 w 8545"/>
                <a:gd name="T33" fmla="*/ 1055 h 9519"/>
                <a:gd name="T34" fmla="*/ 5222 w 8545"/>
                <a:gd name="T35" fmla="*/ 1068 h 9519"/>
                <a:gd name="T36" fmla="*/ 4432 w 8545"/>
                <a:gd name="T37" fmla="*/ 6921 h 9519"/>
                <a:gd name="T38" fmla="*/ 4272 w 8545"/>
                <a:gd name="T39" fmla="*/ 6917 h 9519"/>
                <a:gd name="T40" fmla="*/ 4061 w 8545"/>
                <a:gd name="T41" fmla="*/ 6923 h 9519"/>
                <a:gd name="T42" fmla="*/ 3817 w 8545"/>
                <a:gd name="T43" fmla="*/ 6936 h 9519"/>
                <a:gd name="T44" fmla="*/ 3464 w 8545"/>
                <a:gd name="T45" fmla="*/ 6973 h 9519"/>
                <a:gd name="T46" fmla="*/ 0 w 8545"/>
                <a:gd name="T47" fmla="*/ 8943 h 9519"/>
                <a:gd name="T48" fmla="*/ 4272 w 8545"/>
                <a:gd name="T49" fmla="*/ 9519 h 9519"/>
                <a:gd name="T50" fmla="*/ 8545 w 8545"/>
                <a:gd name="T51" fmla="*/ 8943 h 9519"/>
                <a:gd name="T52" fmla="*/ 4432 w 8545"/>
                <a:gd name="T53" fmla="*/ 6921 h 9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45" h="9519">
                  <a:moveTo>
                    <a:pt x="5222" y="1068"/>
                  </a:moveTo>
                  <a:cubicBezTo>
                    <a:pt x="5117" y="1187"/>
                    <a:pt x="5020" y="1313"/>
                    <a:pt x="4927" y="1443"/>
                  </a:cubicBezTo>
                  <a:cubicBezTo>
                    <a:pt x="4567" y="1939"/>
                    <a:pt x="4287" y="2491"/>
                    <a:pt x="4088" y="3079"/>
                  </a:cubicBezTo>
                  <a:cubicBezTo>
                    <a:pt x="3713" y="4182"/>
                    <a:pt x="3616" y="5408"/>
                    <a:pt x="3769" y="6612"/>
                  </a:cubicBezTo>
                  <a:cubicBezTo>
                    <a:pt x="3935" y="6599"/>
                    <a:pt x="4103" y="6589"/>
                    <a:pt x="4272" y="6589"/>
                  </a:cubicBezTo>
                  <a:cubicBezTo>
                    <a:pt x="4324" y="6589"/>
                    <a:pt x="4374" y="6592"/>
                    <a:pt x="4425" y="6593"/>
                  </a:cubicBezTo>
                  <a:cubicBezTo>
                    <a:pt x="4547" y="6596"/>
                    <a:pt x="4667" y="6603"/>
                    <a:pt x="4787" y="6613"/>
                  </a:cubicBezTo>
                  <a:cubicBezTo>
                    <a:pt x="4408" y="5492"/>
                    <a:pt x="4271" y="4202"/>
                    <a:pt x="4507" y="2969"/>
                  </a:cubicBezTo>
                  <a:cubicBezTo>
                    <a:pt x="4956" y="2832"/>
                    <a:pt x="5285" y="2650"/>
                    <a:pt x="5515" y="2289"/>
                  </a:cubicBezTo>
                  <a:cubicBezTo>
                    <a:pt x="5987" y="1546"/>
                    <a:pt x="5922" y="784"/>
                    <a:pt x="5991" y="0"/>
                  </a:cubicBezTo>
                  <a:cubicBezTo>
                    <a:pt x="5310" y="394"/>
                    <a:pt x="4592" y="659"/>
                    <a:pt x="4119" y="1401"/>
                  </a:cubicBezTo>
                  <a:cubicBezTo>
                    <a:pt x="3883" y="1773"/>
                    <a:pt x="3864" y="2162"/>
                    <a:pt x="3939" y="2648"/>
                  </a:cubicBezTo>
                  <a:cubicBezTo>
                    <a:pt x="4253" y="2020"/>
                    <a:pt x="4667" y="1452"/>
                    <a:pt x="5233" y="1055"/>
                  </a:cubicBezTo>
                  <a:cubicBezTo>
                    <a:pt x="5233" y="1054"/>
                    <a:pt x="5233" y="1054"/>
                    <a:pt x="5233" y="1054"/>
                  </a:cubicBezTo>
                  <a:lnTo>
                    <a:pt x="5233" y="1054"/>
                  </a:lnTo>
                  <a:cubicBezTo>
                    <a:pt x="5233" y="1054"/>
                    <a:pt x="5233" y="1055"/>
                    <a:pt x="5233" y="1055"/>
                  </a:cubicBezTo>
                  <a:lnTo>
                    <a:pt x="5233" y="1055"/>
                  </a:lnTo>
                  <a:cubicBezTo>
                    <a:pt x="5229" y="1059"/>
                    <a:pt x="5226" y="1064"/>
                    <a:pt x="5222" y="1068"/>
                  </a:cubicBezTo>
                  <a:close/>
                  <a:moveTo>
                    <a:pt x="4432" y="6921"/>
                  </a:moveTo>
                  <a:cubicBezTo>
                    <a:pt x="4379" y="6920"/>
                    <a:pt x="4326" y="6917"/>
                    <a:pt x="4272" y="6917"/>
                  </a:cubicBezTo>
                  <a:cubicBezTo>
                    <a:pt x="4201" y="6917"/>
                    <a:pt x="4131" y="6920"/>
                    <a:pt x="4061" y="6923"/>
                  </a:cubicBezTo>
                  <a:cubicBezTo>
                    <a:pt x="3979" y="6926"/>
                    <a:pt x="3898" y="6930"/>
                    <a:pt x="3817" y="6936"/>
                  </a:cubicBezTo>
                  <a:cubicBezTo>
                    <a:pt x="3698" y="6945"/>
                    <a:pt x="3580" y="6957"/>
                    <a:pt x="3464" y="6973"/>
                  </a:cubicBezTo>
                  <a:cubicBezTo>
                    <a:pt x="1974" y="7173"/>
                    <a:pt x="711" y="7916"/>
                    <a:pt x="0" y="8943"/>
                  </a:cubicBezTo>
                  <a:cubicBezTo>
                    <a:pt x="1245" y="9309"/>
                    <a:pt x="2707" y="9519"/>
                    <a:pt x="4272" y="9519"/>
                  </a:cubicBezTo>
                  <a:cubicBezTo>
                    <a:pt x="5838" y="9519"/>
                    <a:pt x="7300" y="9309"/>
                    <a:pt x="8545" y="8943"/>
                  </a:cubicBezTo>
                  <a:cubicBezTo>
                    <a:pt x="7733" y="7770"/>
                    <a:pt x="6201" y="6967"/>
                    <a:pt x="4432" y="6921"/>
                  </a:cubicBezTo>
                </a:path>
              </a:pathLst>
            </a:custGeom>
            <a:solidFill>
              <a:srgbClr val="957291"/>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8" name="Tree12" descr="{&quot;Key&quot;:&quot;POWER_USER_SHAPE_ICON&quot;,&quot;Value&quot;:&quot;POWER_USER_SHAPE_ICON_STYLE_1&quot;}">
              <a:extLst>
                <a:ext uri="{FF2B5EF4-FFF2-40B4-BE49-F238E27FC236}">
                  <a16:creationId xmlns:a16="http://schemas.microsoft.com/office/drawing/2014/main" id="{0DC78487-75D3-6AF8-250D-FF3877E1E549}"/>
                </a:ext>
              </a:extLst>
            </p:cNvPr>
            <p:cNvSpPr>
              <a:spLocks noChangeAspect="1" noEditPoints="1"/>
            </p:cNvSpPr>
            <p:nvPr>
              <p:custDataLst>
                <p:tags r:id="rId10"/>
              </p:custDataLst>
            </p:nvPr>
          </p:nvSpPr>
          <p:spPr bwMode="auto">
            <a:xfrm>
              <a:off x="1258093" y="1657467"/>
              <a:ext cx="546085" cy="419914"/>
            </a:xfrm>
            <a:custGeom>
              <a:avLst/>
              <a:gdLst>
                <a:gd name="T0" fmla="*/ 4710 w 8545"/>
                <a:gd name="T1" fmla="*/ 3993 h 6579"/>
                <a:gd name="T2" fmla="*/ 4749 w 8545"/>
                <a:gd name="T3" fmla="*/ 4145 h 6579"/>
                <a:gd name="T4" fmla="*/ 4992 w 8545"/>
                <a:gd name="T5" fmla="*/ 4959 h 6579"/>
                <a:gd name="T6" fmla="*/ 4253 w 8545"/>
                <a:gd name="T7" fmla="*/ 6138 h 6579"/>
                <a:gd name="T8" fmla="*/ 4044 w 8545"/>
                <a:gd name="T9" fmla="*/ 6284 h 6579"/>
                <a:gd name="T10" fmla="*/ 3851 w 8545"/>
                <a:gd name="T11" fmla="*/ 6117 h 6579"/>
                <a:gd name="T12" fmla="*/ 3239 w 8545"/>
                <a:gd name="T13" fmla="*/ 4867 h 6579"/>
                <a:gd name="T14" fmla="*/ 3458 w 8545"/>
                <a:gd name="T15" fmla="*/ 4233 h 6579"/>
                <a:gd name="T16" fmla="*/ 3442 w 8545"/>
                <a:gd name="T17" fmla="*/ 4035 h 6579"/>
                <a:gd name="T18" fmla="*/ 0 w 8545"/>
                <a:gd name="T19" fmla="*/ 6002 h 6579"/>
                <a:gd name="T20" fmla="*/ 4273 w 8545"/>
                <a:gd name="T21" fmla="*/ 6579 h 6579"/>
                <a:gd name="T22" fmla="*/ 8545 w 8545"/>
                <a:gd name="T23" fmla="*/ 6002 h 6579"/>
                <a:gd name="T24" fmla="*/ 4710 w 8545"/>
                <a:gd name="T25" fmla="*/ 3993 h 6579"/>
                <a:gd name="T26" fmla="*/ 4066 w 8545"/>
                <a:gd name="T27" fmla="*/ 5870 h 6579"/>
                <a:gd name="T28" fmla="*/ 4665 w 8545"/>
                <a:gd name="T29" fmla="*/ 4942 h 6579"/>
                <a:gd name="T30" fmla="*/ 4448 w 8545"/>
                <a:gd name="T31" fmla="*/ 4284 h 6579"/>
                <a:gd name="T32" fmla="*/ 4369 w 8545"/>
                <a:gd name="T33" fmla="*/ 3978 h 6579"/>
                <a:gd name="T34" fmla="*/ 4334 w 8545"/>
                <a:gd name="T35" fmla="*/ 3814 h 6579"/>
                <a:gd name="T36" fmla="*/ 4304 w 8545"/>
                <a:gd name="T37" fmla="*/ 3649 h 6579"/>
                <a:gd name="T38" fmla="*/ 5023 w 8545"/>
                <a:gd name="T39" fmla="*/ 0 h 6579"/>
                <a:gd name="T40" fmla="*/ 3751 w 8545"/>
                <a:gd name="T41" fmla="*/ 3672 h 6579"/>
                <a:gd name="T42" fmla="*/ 3758 w 8545"/>
                <a:gd name="T43" fmla="*/ 3836 h 6579"/>
                <a:gd name="T44" fmla="*/ 3767 w 8545"/>
                <a:gd name="T45" fmla="*/ 3999 h 6579"/>
                <a:gd name="T46" fmla="*/ 3797 w 8545"/>
                <a:gd name="T47" fmla="*/ 4318 h 6579"/>
                <a:gd name="T48" fmla="*/ 3565 w 8545"/>
                <a:gd name="T49" fmla="*/ 4884 h 6579"/>
                <a:gd name="T50" fmla="*/ 4066 w 8545"/>
                <a:gd name="T51" fmla="*/ 5870 h 6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45" h="6579">
                  <a:moveTo>
                    <a:pt x="4710" y="3993"/>
                  </a:moveTo>
                  <a:cubicBezTo>
                    <a:pt x="4723" y="4044"/>
                    <a:pt x="4734" y="4095"/>
                    <a:pt x="4749" y="4145"/>
                  </a:cubicBezTo>
                  <a:cubicBezTo>
                    <a:pt x="4924" y="4419"/>
                    <a:pt x="5006" y="4692"/>
                    <a:pt x="4992" y="4959"/>
                  </a:cubicBezTo>
                  <a:cubicBezTo>
                    <a:pt x="4957" y="5628"/>
                    <a:pt x="4325" y="6088"/>
                    <a:pt x="4253" y="6138"/>
                  </a:cubicBezTo>
                  <a:lnTo>
                    <a:pt x="4044" y="6284"/>
                  </a:lnTo>
                  <a:lnTo>
                    <a:pt x="3851" y="6117"/>
                  </a:lnTo>
                  <a:cubicBezTo>
                    <a:pt x="3785" y="6059"/>
                    <a:pt x="3204" y="5536"/>
                    <a:pt x="3239" y="4867"/>
                  </a:cubicBezTo>
                  <a:cubicBezTo>
                    <a:pt x="3250" y="4654"/>
                    <a:pt x="3324" y="4441"/>
                    <a:pt x="3458" y="4233"/>
                  </a:cubicBezTo>
                  <a:cubicBezTo>
                    <a:pt x="3451" y="4166"/>
                    <a:pt x="3447" y="4101"/>
                    <a:pt x="3442" y="4035"/>
                  </a:cubicBezTo>
                  <a:cubicBezTo>
                    <a:pt x="1962" y="4240"/>
                    <a:pt x="707" y="4980"/>
                    <a:pt x="0" y="6002"/>
                  </a:cubicBezTo>
                  <a:cubicBezTo>
                    <a:pt x="1245" y="6368"/>
                    <a:pt x="2708" y="6579"/>
                    <a:pt x="4273" y="6579"/>
                  </a:cubicBezTo>
                  <a:cubicBezTo>
                    <a:pt x="5838" y="6579"/>
                    <a:pt x="7301" y="6368"/>
                    <a:pt x="8545" y="6002"/>
                  </a:cubicBezTo>
                  <a:cubicBezTo>
                    <a:pt x="7776" y="4891"/>
                    <a:pt x="6361" y="4111"/>
                    <a:pt x="4710" y="3993"/>
                  </a:cubicBezTo>
                  <a:close/>
                  <a:moveTo>
                    <a:pt x="4066" y="5870"/>
                  </a:moveTo>
                  <a:cubicBezTo>
                    <a:pt x="4066" y="5870"/>
                    <a:pt x="4638" y="5470"/>
                    <a:pt x="4665" y="4942"/>
                  </a:cubicBezTo>
                  <a:cubicBezTo>
                    <a:pt x="4678" y="4693"/>
                    <a:pt x="4568" y="4461"/>
                    <a:pt x="4448" y="4284"/>
                  </a:cubicBezTo>
                  <a:cubicBezTo>
                    <a:pt x="4419" y="4184"/>
                    <a:pt x="4393" y="4082"/>
                    <a:pt x="4369" y="3978"/>
                  </a:cubicBezTo>
                  <a:cubicBezTo>
                    <a:pt x="4356" y="3924"/>
                    <a:pt x="4345" y="3869"/>
                    <a:pt x="4334" y="3814"/>
                  </a:cubicBezTo>
                  <a:cubicBezTo>
                    <a:pt x="4323" y="3759"/>
                    <a:pt x="4313" y="3704"/>
                    <a:pt x="4304" y="3649"/>
                  </a:cubicBezTo>
                  <a:cubicBezTo>
                    <a:pt x="4096" y="2429"/>
                    <a:pt x="4266" y="1069"/>
                    <a:pt x="5023" y="0"/>
                  </a:cubicBezTo>
                  <a:cubicBezTo>
                    <a:pt x="4123" y="954"/>
                    <a:pt x="3720" y="2309"/>
                    <a:pt x="3751" y="3672"/>
                  </a:cubicBezTo>
                  <a:cubicBezTo>
                    <a:pt x="3753" y="3727"/>
                    <a:pt x="3755" y="3781"/>
                    <a:pt x="3758" y="3836"/>
                  </a:cubicBezTo>
                  <a:cubicBezTo>
                    <a:pt x="3760" y="3890"/>
                    <a:pt x="3763" y="3945"/>
                    <a:pt x="3767" y="3999"/>
                  </a:cubicBezTo>
                  <a:cubicBezTo>
                    <a:pt x="3774" y="4106"/>
                    <a:pt x="3784" y="4212"/>
                    <a:pt x="3797" y="4318"/>
                  </a:cubicBezTo>
                  <a:cubicBezTo>
                    <a:pt x="3680" y="4473"/>
                    <a:pt x="3577" y="4668"/>
                    <a:pt x="3565" y="4884"/>
                  </a:cubicBezTo>
                  <a:cubicBezTo>
                    <a:pt x="3538" y="5412"/>
                    <a:pt x="4066" y="5870"/>
                    <a:pt x="4066" y="5870"/>
                  </a:cubicBezTo>
                </a:path>
              </a:pathLst>
            </a:custGeom>
            <a:solidFill>
              <a:srgbClr val="3C0025"/>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9" name="Oval 8">
              <a:extLst>
                <a:ext uri="{FF2B5EF4-FFF2-40B4-BE49-F238E27FC236}">
                  <a16:creationId xmlns:a16="http://schemas.microsoft.com/office/drawing/2014/main" id="{82D05DA7-4E23-462B-76BF-92C0A1A10504}"/>
                </a:ext>
              </a:extLst>
            </p:cNvPr>
            <p:cNvSpPr>
              <a:spLocks noChangeAspect="1"/>
            </p:cNvSpPr>
            <p:nvPr/>
          </p:nvSpPr>
          <p:spPr>
            <a:xfrm>
              <a:off x="1141425" y="2192424"/>
              <a:ext cx="624548" cy="624548"/>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algn="ctr"/>
              <a:r>
                <a:rPr lang="nb-NO" sz="2456" b="1">
                  <a:solidFill>
                    <a:schemeClr val="accent1"/>
                  </a:solidFill>
                </a:rPr>
                <a:t>1</a:t>
              </a:r>
            </a:p>
          </p:txBody>
        </p:sp>
      </p:grpSp>
      <p:sp>
        <p:nvSpPr>
          <p:cNvPr id="11" name="Rounded Rectangle 5">
            <a:extLst>
              <a:ext uri="{FF2B5EF4-FFF2-40B4-BE49-F238E27FC236}">
                <a16:creationId xmlns:a16="http://schemas.microsoft.com/office/drawing/2014/main" id="{49EDBDB1-B006-2729-8E14-F0CE15182918}"/>
              </a:ext>
            </a:extLst>
          </p:cNvPr>
          <p:cNvSpPr>
            <a:spLocks/>
          </p:cNvSpPr>
          <p:nvPr/>
        </p:nvSpPr>
        <p:spPr>
          <a:xfrm>
            <a:off x="2230265" y="3030747"/>
            <a:ext cx="2005541" cy="2253506"/>
          </a:xfrm>
          <a:prstGeom prst="roundRect">
            <a:avLst>
              <a:gd name="adj" fmla="val 13052"/>
            </a:avLst>
          </a:prstGeom>
          <a:noFill/>
          <a:ln w="12700">
            <a:solidFill>
              <a:srgbClr val="FF747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5" tIns="252600" rIns="31575" bIns="40100" numCol="1" spcCol="0" rtlCol="0" fromWordArt="0" anchor="t" anchorCtr="0" forceAA="0" compatLnSpc="1">
            <a:prstTxWarp prst="textNoShape">
              <a:avLst/>
            </a:prstTxWarp>
            <a:noAutofit/>
          </a:bodyPr>
          <a:lstStyle/>
          <a:p>
            <a:pPr algn="ctr"/>
            <a:r>
              <a:rPr lang="nb-NO" sz="965" b="1" dirty="0">
                <a:solidFill>
                  <a:schemeClr val="tx1"/>
                </a:solidFill>
              </a:rPr>
              <a:t>Beslutning</a:t>
            </a:r>
          </a:p>
          <a:p>
            <a:pPr algn="ctr"/>
            <a:endParaRPr lang="nb-NO" sz="965" b="1" dirty="0">
              <a:solidFill>
                <a:schemeClr val="tx1"/>
              </a:solidFill>
            </a:endParaRPr>
          </a:p>
          <a:p>
            <a:pPr marL="250631" indent="-250631">
              <a:buFont typeface="Arial" panose="020B0604020202020204" pitchFamily="34" charset="0"/>
              <a:buChar char="•"/>
            </a:pPr>
            <a:r>
              <a:rPr lang="nb-NO" sz="965" dirty="0">
                <a:solidFill>
                  <a:schemeClr val="tx1"/>
                </a:solidFill>
              </a:rPr>
              <a:t>Arbeidsplasskonsept</a:t>
            </a:r>
          </a:p>
          <a:p>
            <a:pPr marL="250631" indent="-250631">
              <a:buFont typeface="Arial" panose="020B0604020202020204" pitchFamily="34" charset="0"/>
              <a:buChar char="•"/>
            </a:pPr>
            <a:r>
              <a:rPr lang="nb-NO" sz="965">
                <a:solidFill>
                  <a:schemeClr val="tx1"/>
                </a:solidFill>
              </a:rPr>
              <a:t>Markedskartlegging</a:t>
            </a:r>
          </a:p>
          <a:p>
            <a:pPr marL="250631" indent="-250631">
              <a:buFont typeface="Arial" panose="020B0604020202020204" pitchFamily="34" charset="0"/>
              <a:buChar char="•"/>
            </a:pPr>
            <a:r>
              <a:rPr lang="nb-NO" sz="965">
                <a:solidFill>
                  <a:schemeClr val="tx1"/>
                </a:solidFill>
              </a:rPr>
              <a:t>Beliggenhet </a:t>
            </a:r>
            <a:endParaRPr lang="nb-NO" sz="965" dirty="0">
              <a:solidFill>
                <a:schemeClr val="tx1"/>
              </a:solidFill>
            </a:endParaRPr>
          </a:p>
          <a:p>
            <a:pPr marL="250631" indent="-250631">
              <a:buFont typeface="Arial" panose="020B0604020202020204" pitchFamily="34" charset="0"/>
              <a:buChar char="•"/>
            </a:pPr>
            <a:r>
              <a:rPr lang="nb-NO" sz="965" dirty="0">
                <a:solidFill>
                  <a:schemeClr val="tx1"/>
                </a:solidFill>
              </a:rPr>
              <a:t>Forhandle</a:t>
            </a:r>
          </a:p>
          <a:p>
            <a:pPr marL="250631" indent="-250631">
              <a:buFont typeface="Arial" panose="020B0604020202020204" pitchFamily="34" charset="0"/>
              <a:buChar char="•"/>
            </a:pPr>
            <a:r>
              <a:rPr lang="nb-NO" sz="965" dirty="0">
                <a:solidFill>
                  <a:schemeClr val="tx1"/>
                </a:solidFill>
              </a:rPr>
              <a:t>Bli eller flytte</a:t>
            </a:r>
          </a:p>
          <a:p>
            <a:pPr marL="250631" indent="-250631">
              <a:buFont typeface="Arial" panose="020B0604020202020204" pitchFamily="34" charset="0"/>
              <a:buChar char="•"/>
            </a:pPr>
            <a:r>
              <a:rPr lang="nb-NO" sz="965" dirty="0">
                <a:solidFill>
                  <a:schemeClr val="tx1"/>
                </a:solidFill>
              </a:rPr>
              <a:t>Leiekontrakt</a:t>
            </a:r>
          </a:p>
        </p:txBody>
      </p:sp>
      <p:grpSp>
        <p:nvGrpSpPr>
          <p:cNvPr id="12" name="Group 11">
            <a:extLst>
              <a:ext uri="{FF2B5EF4-FFF2-40B4-BE49-F238E27FC236}">
                <a16:creationId xmlns:a16="http://schemas.microsoft.com/office/drawing/2014/main" id="{28871D19-BFEA-2A68-8DAE-EB3E3BA8B34E}"/>
              </a:ext>
            </a:extLst>
          </p:cNvPr>
          <p:cNvGrpSpPr/>
          <p:nvPr/>
        </p:nvGrpSpPr>
        <p:grpSpPr>
          <a:xfrm>
            <a:off x="2947005" y="1963794"/>
            <a:ext cx="806766" cy="1268496"/>
            <a:chOff x="4029839" y="1370706"/>
            <a:chExt cx="919828" cy="1446266"/>
          </a:xfrm>
        </p:grpSpPr>
        <p:sp>
          <p:nvSpPr>
            <p:cNvPr id="13" name="Tree15" descr="{&quot;Key&quot;:&quot;POWER_USER_SHAPE_ICON&quot;,&quot;Value&quot;:&quot;POWER_USER_SHAPE_ICON_STYLE_1&quot;}">
              <a:extLst>
                <a:ext uri="{FF2B5EF4-FFF2-40B4-BE49-F238E27FC236}">
                  <a16:creationId xmlns:a16="http://schemas.microsoft.com/office/drawing/2014/main" id="{C686F966-2BE6-E84D-C3B6-25046B5B7E16}"/>
                </a:ext>
              </a:extLst>
            </p:cNvPr>
            <p:cNvSpPr>
              <a:spLocks noChangeAspect="1" noEditPoints="1"/>
            </p:cNvSpPr>
            <p:nvPr>
              <p:custDataLst>
                <p:tags r:id="rId7"/>
              </p:custDataLst>
            </p:nvPr>
          </p:nvSpPr>
          <p:spPr bwMode="auto">
            <a:xfrm>
              <a:off x="4603526" y="1370706"/>
              <a:ext cx="346141" cy="496718"/>
            </a:xfrm>
            <a:custGeom>
              <a:avLst/>
              <a:gdLst>
                <a:gd name="T0" fmla="*/ 3583 w 8545"/>
                <a:gd name="T1" fmla="*/ 9370 h 12262"/>
                <a:gd name="T2" fmla="*/ 4272 w 8545"/>
                <a:gd name="T3" fmla="*/ 9333 h 12262"/>
                <a:gd name="T4" fmla="*/ 4806 w 8545"/>
                <a:gd name="T5" fmla="*/ 9357 h 12262"/>
                <a:gd name="T6" fmla="*/ 4828 w 8545"/>
                <a:gd name="T7" fmla="*/ 5241 h 12262"/>
                <a:gd name="T8" fmla="*/ 5916 w 8545"/>
                <a:gd name="T9" fmla="*/ 2941 h 12262"/>
                <a:gd name="T10" fmla="*/ 5937 w 8545"/>
                <a:gd name="T11" fmla="*/ 2519 h 12262"/>
                <a:gd name="T12" fmla="*/ 6084 w 8545"/>
                <a:gd name="T13" fmla="*/ 1299 h 12262"/>
                <a:gd name="T14" fmla="*/ 4897 w 8545"/>
                <a:gd name="T15" fmla="*/ 0 h 12262"/>
                <a:gd name="T16" fmla="*/ 4927 w 8545"/>
                <a:gd name="T17" fmla="*/ 1760 h 12262"/>
                <a:gd name="T18" fmla="*/ 5447 w 8545"/>
                <a:gd name="T19" fmla="*/ 2331 h 12262"/>
                <a:gd name="T20" fmla="*/ 5187 w 8545"/>
                <a:gd name="T21" fmla="*/ 562 h 12262"/>
                <a:gd name="T22" fmla="*/ 5655 w 8545"/>
                <a:gd name="T23" fmla="*/ 1811 h 12262"/>
                <a:gd name="T24" fmla="*/ 5702 w 8545"/>
                <a:gd name="T25" fmla="*/ 2466 h 12262"/>
                <a:gd name="T26" fmla="*/ 5703 w 8545"/>
                <a:gd name="T27" fmla="*/ 2467 h 12262"/>
                <a:gd name="T28" fmla="*/ 5701 w 8545"/>
                <a:gd name="T29" fmla="*/ 2493 h 12262"/>
                <a:gd name="T30" fmla="*/ 5636 w 8545"/>
                <a:gd name="T31" fmla="*/ 2889 h 12262"/>
                <a:gd name="T32" fmla="*/ 4364 w 8545"/>
                <a:gd name="T33" fmla="*/ 4911 h 12262"/>
                <a:gd name="T34" fmla="*/ 4173 w 8545"/>
                <a:gd name="T35" fmla="*/ 5151 h 12262"/>
                <a:gd name="T36" fmla="*/ 3231 w 8545"/>
                <a:gd name="T37" fmla="*/ 7319 h 12262"/>
                <a:gd name="T38" fmla="*/ 3583 w 8545"/>
                <a:gd name="T39" fmla="*/ 9370 h 12262"/>
                <a:gd name="T40" fmla="*/ 4392 w 8545"/>
                <a:gd name="T41" fmla="*/ 9663 h 12262"/>
                <a:gd name="T42" fmla="*/ 4272 w 8545"/>
                <a:gd name="T43" fmla="*/ 9660 h 12262"/>
                <a:gd name="T44" fmla="*/ 3717 w 8545"/>
                <a:gd name="T45" fmla="*/ 9687 h 12262"/>
                <a:gd name="T46" fmla="*/ 0 w 8545"/>
                <a:gd name="T47" fmla="*/ 11686 h 12262"/>
                <a:gd name="T48" fmla="*/ 4272 w 8545"/>
                <a:gd name="T49" fmla="*/ 12262 h 12262"/>
                <a:gd name="T50" fmla="*/ 8545 w 8545"/>
                <a:gd name="T51" fmla="*/ 11686 h 12262"/>
                <a:gd name="T52" fmla="*/ 4392 w 8545"/>
                <a:gd name="T53" fmla="*/ 9663 h 12262"/>
                <a:gd name="T54" fmla="*/ 4836 w 8545"/>
                <a:gd name="T55" fmla="*/ 6337 h 12262"/>
                <a:gd name="T56" fmla="*/ 6602 w 8545"/>
                <a:gd name="T57" fmla="*/ 6648 h 12262"/>
                <a:gd name="T58" fmla="*/ 8359 w 8545"/>
                <a:gd name="T59" fmla="*/ 4314 h 12262"/>
                <a:gd name="T60" fmla="*/ 6027 w 8545"/>
                <a:gd name="T61" fmla="*/ 4996 h 12262"/>
                <a:gd name="T62" fmla="*/ 4836 w 8545"/>
                <a:gd name="T63" fmla="*/ 6337 h 12262"/>
                <a:gd name="T64" fmla="*/ 3380 w 8545"/>
                <a:gd name="T65" fmla="*/ 5380 h 12262"/>
                <a:gd name="T66" fmla="*/ 4003 w 8545"/>
                <a:gd name="T67" fmla="*/ 4139 h 12262"/>
                <a:gd name="T68" fmla="*/ 3306 w 8545"/>
                <a:gd name="T69" fmla="*/ 2379 h 12262"/>
                <a:gd name="T70" fmla="*/ 2650 w 8545"/>
                <a:gd name="T71" fmla="*/ 4199 h 12262"/>
                <a:gd name="T72" fmla="*/ 3380 w 8545"/>
                <a:gd name="T73" fmla="*/ 5380 h 1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45" h="12262">
                  <a:moveTo>
                    <a:pt x="3583" y="9370"/>
                  </a:moveTo>
                  <a:cubicBezTo>
                    <a:pt x="3810" y="9345"/>
                    <a:pt x="4040" y="9333"/>
                    <a:pt x="4272" y="9333"/>
                  </a:cubicBezTo>
                  <a:cubicBezTo>
                    <a:pt x="4452" y="9333"/>
                    <a:pt x="4630" y="9343"/>
                    <a:pt x="4806" y="9357"/>
                  </a:cubicBezTo>
                  <a:cubicBezTo>
                    <a:pt x="3909" y="8084"/>
                    <a:pt x="3814" y="6583"/>
                    <a:pt x="4828" y="5241"/>
                  </a:cubicBezTo>
                  <a:cubicBezTo>
                    <a:pt x="5253" y="4556"/>
                    <a:pt x="5800" y="3829"/>
                    <a:pt x="5916" y="2941"/>
                  </a:cubicBezTo>
                  <a:cubicBezTo>
                    <a:pt x="5936" y="2799"/>
                    <a:pt x="5942" y="2658"/>
                    <a:pt x="5937" y="2519"/>
                  </a:cubicBezTo>
                  <a:cubicBezTo>
                    <a:pt x="6136" y="2041"/>
                    <a:pt x="6238" y="1684"/>
                    <a:pt x="6084" y="1299"/>
                  </a:cubicBezTo>
                  <a:cubicBezTo>
                    <a:pt x="5839" y="683"/>
                    <a:pt x="5345" y="387"/>
                    <a:pt x="4897" y="0"/>
                  </a:cubicBezTo>
                  <a:cubicBezTo>
                    <a:pt x="4837" y="590"/>
                    <a:pt x="4682" y="1144"/>
                    <a:pt x="4927" y="1760"/>
                  </a:cubicBezTo>
                  <a:cubicBezTo>
                    <a:pt x="5029" y="2015"/>
                    <a:pt x="5204" y="2184"/>
                    <a:pt x="5447" y="2331"/>
                  </a:cubicBezTo>
                  <a:cubicBezTo>
                    <a:pt x="5523" y="1745"/>
                    <a:pt x="5451" y="1131"/>
                    <a:pt x="5187" y="562"/>
                  </a:cubicBezTo>
                  <a:cubicBezTo>
                    <a:pt x="5397" y="955"/>
                    <a:pt x="5572" y="1380"/>
                    <a:pt x="5655" y="1811"/>
                  </a:cubicBezTo>
                  <a:cubicBezTo>
                    <a:pt x="5690" y="2026"/>
                    <a:pt x="5706" y="2246"/>
                    <a:pt x="5702" y="2466"/>
                  </a:cubicBezTo>
                  <a:lnTo>
                    <a:pt x="5703" y="2467"/>
                  </a:lnTo>
                  <a:cubicBezTo>
                    <a:pt x="5703" y="2476"/>
                    <a:pt x="5702" y="2484"/>
                    <a:pt x="5701" y="2493"/>
                  </a:cubicBezTo>
                  <a:cubicBezTo>
                    <a:pt x="5692" y="2627"/>
                    <a:pt x="5671" y="2759"/>
                    <a:pt x="5636" y="2889"/>
                  </a:cubicBezTo>
                  <a:cubicBezTo>
                    <a:pt x="5446" y="3658"/>
                    <a:pt x="4884" y="4259"/>
                    <a:pt x="4364" y="4911"/>
                  </a:cubicBezTo>
                  <a:cubicBezTo>
                    <a:pt x="4300" y="4989"/>
                    <a:pt x="4236" y="5069"/>
                    <a:pt x="4173" y="5151"/>
                  </a:cubicBezTo>
                  <a:cubicBezTo>
                    <a:pt x="3717" y="5747"/>
                    <a:pt x="3299" y="6471"/>
                    <a:pt x="3231" y="7319"/>
                  </a:cubicBezTo>
                  <a:cubicBezTo>
                    <a:pt x="3167" y="8041"/>
                    <a:pt x="3332" y="8734"/>
                    <a:pt x="3583" y="9370"/>
                  </a:cubicBezTo>
                  <a:close/>
                  <a:moveTo>
                    <a:pt x="4392" y="9663"/>
                  </a:moveTo>
                  <a:cubicBezTo>
                    <a:pt x="4352" y="9662"/>
                    <a:pt x="4313" y="9660"/>
                    <a:pt x="4272" y="9660"/>
                  </a:cubicBezTo>
                  <a:cubicBezTo>
                    <a:pt x="4084" y="9660"/>
                    <a:pt x="3900" y="9670"/>
                    <a:pt x="3717" y="9687"/>
                  </a:cubicBezTo>
                  <a:cubicBezTo>
                    <a:pt x="2117" y="9833"/>
                    <a:pt x="750" y="10601"/>
                    <a:pt x="0" y="11686"/>
                  </a:cubicBezTo>
                  <a:cubicBezTo>
                    <a:pt x="1245" y="12052"/>
                    <a:pt x="2707" y="12262"/>
                    <a:pt x="4272" y="12262"/>
                  </a:cubicBezTo>
                  <a:cubicBezTo>
                    <a:pt x="5837" y="12262"/>
                    <a:pt x="7300" y="12052"/>
                    <a:pt x="8545" y="11686"/>
                  </a:cubicBezTo>
                  <a:cubicBezTo>
                    <a:pt x="7727" y="10504"/>
                    <a:pt x="6179" y="9698"/>
                    <a:pt x="4392" y="9663"/>
                  </a:cubicBezTo>
                  <a:close/>
                  <a:moveTo>
                    <a:pt x="4836" y="6337"/>
                  </a:moveTo>
                  <a:cubicBezTo>
                    <a:pt x="5527" y="6665"/>
                    <a:pt x="6035" y="6845"/>
                    <a:pt x="6602" y="6648"/>
                  </a:cubicBezTo>
                  <a:cubicBezTo>
                    <a:pt x="7482" y="6341"/>
                    <a:pt x="8011" y="5454"/>
                    <a:pt x="8359" y="4314"/>
                  </a:cubicBezTo>
                  <a:cubicBezTo>
                    <a:pt x="7713" y="4959"/>
                    <a:pt x="6907" y="4690"/>
                    <a:pt x="6027" y="4996"/>
                  </a:cubicBezTo>
                  <a:cubicBezTo>
                    <a:pt x="5459" y="5193"/>
                    <a:pt x="5173" y="5650"/>
                    <a:pt x="4836" y="6337"/>
                  </a:cubicBezTo>
                  <a:close/>
                  <a:moveTo>
                    <a:pt x="3380" y="5380"/>
                  </a:moveTo>
                  <a:cubicBezTo>
                    <a:pt x="3777" y="4940"/>
                    <a:pt x="4023" y="4604"/>
                    <a:pt x="4003" y="4139"/>
                  </a:cubicBezTo>
                  <a:cubicBezTo>
                    <a:pt x="3971" y="3419"/>
                    <a:pt x="3423" y="3137"/>
                    <a:pt x="3306" y="2379"/>
                  </a:cubicBezTo>
                  <a:cubicBezTo>
                    <a:pt x="2911" y="2934"/>
                    <a:pt x="2618" y="3478"/>
                    <a:pt x="2650" y="4199"/>
                  </a:cubicBezTo>
                  <a:cubicBezTo>
                    <a:pt x="2670" y="4664"/>
                    <a:pt x="2921" y="5027"/>
                    <a:pt x="3380" y="5380"/>
                  </a:cubicBezTo>
                  <a:close/>
                </a:path>
              </a:pathLst>
            </a:custGeom>
            <a:solidFill>
              <a:srgbClr val="FFC4C4"/>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14" name="Tree14" descr="{&quot;Key&quot;:&quot;POWER_USER_SHAPE_ICON&quot;,&quot;Value&quot;:&quot;POWER_USER_SHAPE_ICON_STYLE_1&quot;}">
              <a:extLst>
                <a:ext uri="{FF2B5EF4-FFF2-40B4-BE49-F238E27FC236}">
                  <a16:creationId xmlns:a16="http://schemas.microsoft.com/office/drawing/2014/main" id="{7D3F82EC-4D6E-9A08-F688-390FA47B7FC2}"/>
                </a:ext>
              </a:extLst>
            </p:cNvPr>
            <p:cNvSpPr>
              <a:spLocks noChangeAspect="1" noEditPoints="1"/>
            </p:cNvSpPr>
            <p:nvPr>
              <p:custDataLst>
                <p:tags r:id="rId8"/>
              </p:custDataLst>
            </p:nvPr>
          </p:nvSpPr>
          <p:spPr bwMode="auto">
            <a:xfrm>
              <a:off x="4109297" y="1374414"/>
              <a:ext cx="546085" cy="636770"/>
            </a:xfrm>
            <a:custGeom>
              <a:avLst/>
              <a:gdLst>
                <a:gd name="T0" fmla="*/ 3010 w 8545"/>
                <a:gd name="T1" fmla="*/ 4298 h 9967"/>
                <a:gd name="T2" fmla="*/ 3105 w 8545"/>
                <a:gd name="T3" fmla="*/ 4336 h 9967"/>
                <a:gd name="T4" fmla="*/ 3295 w 8545"/>
                <a:gd name="T5" fmla="*/ 3612 h 9967"/>
                <a:gd name="T6" fmla="*/ 3252 w 8545"/>
                <a:gd name="T7" fmla="*/ 3413 h 9967"/>
                <a:gd name="T8" fmla="*/ 2446 w 8545"/>
                <a:gd name="T9" fmla="*/ 2425 h 9967"/>
                <a:gd name="T10" fmla="*/ 2396 w 8545"/>
                <a:gd name="T11" fmla="*/ 3727 h 9967"/>
                <a:gd name="T12" fmla="*/ 3010 w 8545"/>
                <a:gd name="T13" fmla="*/ 4298 h 9967"/>
                <a:gd name="T14" fmla="*/ 4088 w 8545"/>
                <a:gd name="T15" fmla="*/ 2874 h 9967"/>
                <a:gd name="T16" fmla="*/ 3555 w 8545"/>
                <a:gd name="T17" fmla="*/ 6709 h 9967"/>
                <a:gd name="T18" fmla="*/ 3658 w 8545"/>
                <a:gd name="T19" fmla="*/ 7068 h 9967"/>
                <a:gd name="T20" fmla="*/ 4272 w 8545"/>
                <a:gd name="T21" fmla="*/ 7036 h 9967"/>
                <a:gd name="T22" fmla="*/ 4751 w 8545"/>
                <a:gd name="T23" fmla="*/ 7057 h 9967"/>
                <a:gd name="T24" fmla="*/ 4487 w 8545"/>
                <a:gd name="T25" fmla="*/ 2851 h 9967"/>
                <a:gd name="T26" fmla="*/ 5648 w 8545"/>
                <a:gd name="T27" fmla="*/ 2240 h 9967"/>
                <a:gd name="T28" fmla="*/ 6317 w 8545"/>
                <a:gd name="T29" fmla="*/ 0 h 9967"/>
                <a:gd name="T30" fmla="*/ 4333 w 8545"/>
                <a:gd name="T31" fmla="*/ 1237 h 9967"/>
                <a:gd name="T32" fmla="*/ 4042 w 8545"/>
                <a:gd name="T33" fmla="*/ 2354 h 9967"/>
                <a:gd name="T34" fmla="*/ 5574 w 8545"/>
                <a:gd name="T35" fmla="*/ 792 h 9967"/>
                <a:gd name="T36" fmla="*/ 4764 w 8545"/>
                <a:gd name="T37" fmla="*/ 1769 h 9967"/>
                <a:gd name="T38" fmla="*/ 4088 w 8545"/>
                <a:gd name="T39" fmla="*/ 2874 h 9967"/>
                <a:gd name="T40" fmla="*/ 4392 w 8545"/>
                <a:gd name="T41" fmla="*/ 7367 h 9967"/>
                <a:gd name="T42" fmla="*/ 4272 w 8545"/>
                <a:gd name="T43" fmla="*/ 7364 h 9967"/>
                <a:gd name="T44" fmla="*/ 3773 w 8545"/>
                <a:gd name="T45" fmla="*/ 7387 h 9967"/>
                <a:gd name="T46" fmla="*/ 0 w 8545"/>
                <a:gd name="T47" fmla="*/ 9390 h 9967"/>
                <a:gd name="T48" fmla="*/ 4272 w 8545"/>
                <a:gd name="T49" fmla="*/ 9967 h 9967"/>
                <a:gd name="T50" fmla="*/ 8545 w 8545"/>
                <a:gd name="T51" fmla="*/ 9390 h 9967"/>
                <a:gd name="T52" fmla="*/ 4392 w 8545"/>
                <a:gd name="T53" fmla="*/ 7367 h 9967"/>
                <a:gd name="T54" fmla="*/ 4522 w 8545"/>
                <a:gd name="T55" fmla="*/ 5111 h 9967"/>
                <a:gd name="T56" fmla="*/ 5487 w 8545"/>
                <a:gd name="T57" fmla="*/ 5080 h 9967"/>
                <a:gd name="T58" fmla="*/ 6155 w 8545"/>
                <a:gd name="T59" fmla="*/ 3656 h 9967"/>
                <a:gd name="T60" fmla="*/ 5002 w 8545"/>
                <a:gd name="T61" fmla="*/ 4273 h 9967"/>
                <a:gd name="T62" fmla="*/ 4522 w 8545"/>
                <a:gd name="T63" fmla="*/ 5111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45" h="9967">
                  <a:moveTo>
                    <a:pt x="3010" y="4298"/>
                  </a:moveTo>
                  <a:cubicBezTo>
                    <a:pt x="3041" y="4311"/>
                    <a:pt x="3072" y="4324"/>
                    <a:pt x="3105" y="4336"/>
                  </a:cubicBezTo>
                  <a:cubicBezTo>
                    <a:pt x="3232" y="4056"/>
                    <a:pt x="3313" y="3834"/>
                    <a:pt x="3295" y="3612"/>
                  </a:cubicBezTo>
                  <a:cubicBezTo>
                    <a:pt x="3290" y="3546"/>
                    <a:pt x="3276" y="3480"/>
                    <a:pt x="3252" y="3413"/>
                  </a:cubicBezTo>
                  <a:cubicBezTo>
                    <a:pt x="3084" y="2957"/>
                    <a:pt x="2676" y="2888"/>
                    <a:pt x="2446" y="2425"/>
                  </a:cubicBezTo>
                  <a:cubicBezTo>
                    <a:pt x="2305" y="2862"/>
                    <a:pt x="2229" y="3271"/>
                    <a:pt x="2396" y="3727"/>
                  </a:cubicBezTo>
                  <a:cubicBezTo>
                    <a:pt x="2494" y="3994"/>
                    <a:pt x="2699" y="4168"/>
                    <a:pt x="3010" y="4298"/>
                  </a:cubicBezTo>
                  <a:close/>
                  <a:moveTo>
                    <a:pt x="4088" y="2874"/>
                  </a:moveTo>
                  <a:cubicBezTo>
                    <a:pt x="3507" y="4035"/>
                    <a:pt x="3229" y="5371"/>
                    <a:pt x="3555" y="6709"/>
                  </a:cubicBezTo>
                  <a:cubicBezTo>
                    <a:pt x="3583" y="6829"/>
                    <a:pt x="3619" y="6949"/>
                    <a:pt x="3658" y="7068"/>
                  </a:cubicBezTo>
                  <a:cubicBezTo>
                    <a:pt x="3861" y="7048"/>
                    <a:pt x="4065" y="7036"/>
                    <a:pt x="4272" y="7036"/>
                  </a:cubicBezTo>
                  <a:cubicBezTo>
                    <a:pt x="4433" y="7036"/>
                    <a:pt x="4593" y="7045"/>
                    <a:pt x="4751" y="7057"/>
                  </a:cubicBezTo>
                  <a:cubicBezTo>
                    <a:pt x="3963" y="5877"/>
                    <a:pt x="3978" y="4308"/>
                    <a:pt x="4487" y="2851"/>
                  </a:cubicBezTo>
                  <a:cubicBezTo>
                    <a:pt x="4995" y="2753"/>
                    <a:pt x="5371" y="2604"/>
                    <a:pt x="5648" y="2240"/>
                  </a:cubicBezTo>
                  <a:cubicBezTo>
                    <a:pt x="6182" y="1540"/>
                    <a:pt x="6182" y="775"/>
                    <a:pt x="6317" y="0"/>
                  </a:cubicBezTo>
                  <a:cubicBezTo>
                    <a:pt x="5605" y="335"/>
                    <a:pt x="4867" y="537"/>
                    <a:pt x="4333" y="1237"/>
                  </a:cubicBezTo>
                  <a:cubicBezTo>
                    <a:pt x="4086" y="1561"/>
                    <a:pt x="4024" y="1916"/>
                    <a:pt x="4042" y="2354"/>
                  </a:cubicBezTo>
                  <a:cubicBezTo>
                    <a:pt x="4470" y="1749"/>
                    <a:pt x="4972" y="1206"/>
                    <a:pt x="5574" y="792"/>
                  </a:cubicBezTo>
                  <a:cubicBezTo>
                    <a:pt x="5263" y="1086"/>
                    <a:pt x="4996" y="1417"/>
                    <a:pt x="4764" y="1769"/>
                  </a:cubicBezTo>
                  <a:cubicBezTo>
                    <a:pt x="4512" y="2114"/>
                    <a:pt x="4283" y="2484"/>
                    <a:pt x="4088" y="2874"/>
                  </a:cubicBezTo>
                  <a:close/>
                  <a:moveTo>
                    <a:pt x="4392" y="7367"/>
                  </a:moveTo>
                  <a:cubicBezTo>
                    <a:pt x="4352" y="7366"/>
                    <a:pt x="4313" y="7364"/>
                    <a:pt x="4272" y="7364"/>
                  </a:cubicBezTo>
                  <a:cubicBezTo>
                    <a:pt x="4103" y="7364"/>
                    <a:pt x="3938" y="7373"/>
                    <a:pt x="3773" y="7387"/>
                  </a:cubicBezTo>
                  <a:cubicBezTo>
                    <a:pt x="2149" y="7520"/>
                    <a:pt x="759" y="8293"/>
                    <a:pt x="0" y="9390"/>
                  </a:cubicBezTo>
                  <a:cubicBezTo>
                    <a:pt x="1245" y="9756"/>
                    <a:pt x="2707" y="9967"/>
                    <a:pt x="4272" y="9967"/>
                  </a:cubicBezTo>
                  <a:cubicBezTo>
                    <a:pt x="5837" y="9967"/>
                    <a:pt x="7300" y="9756"/>
                    <a:pt x="8545" y="9390"/>
                  </a:cubicBezTo>
                  <a:cubicBezTo>
                    <a:pt x="7727" y="8208"/>
                    <a:pt x="6178" y="7402"/>
                    <a:pt x="4392" y="7367"/>
                  </a:cubicBezTo>
                  <a:close/>
                  <a:moveTo>
                    <a:pt x="4522" y="5111"/>
                  </a:moveTo>
                  <a:cubicBezTo>
                    <a:pt x="4922" y="5208"/>
                    <a:pt x="5209" y="5246"/>
                    <a:pt x="5487" y="5080"/>
                  </a:cubicBezTo>
                  <a:cubicBezTo>
                    <a:pt x="5916" y="4821"/>
                    <a:pt x="6098" y="4295"/>
                    <a:pt x="6155" y="3656"/>
                  </a:cubicBezTo>
                  <a:cubicBezTo>
                    <a:pt x="5886" y="4068"/>
                    <a:pt x="5431" y="4014"/>
                    <a:pt x="5002" y="4273"/>
                  </a:cubicBezTo>
                  <a:cubicBezTo>
                    <a:pt x="4724" y="4440"/>
                    <a:pt x="4624" y="4712"/>
                    <a:pt x="4522" y="5111"/>
                  </a:cubicBezTo>
                  <a:close/>
                </a:path>
              </a:pathLst>
            </a:custGeom>
            <a:solidFill>
              <a:srgbClr val="FF7474"/>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15" name="Oval 14">
              <a:extLst>
                <a:ext uri="{FF2B5EF4-FFF2-40B4-BE49-F238E27FC236}">
                  <a16:creationId xmlns:a16="http://schemas.microsoft.com/office/drawing/2014/main" id="{5600158B-2CBF-A3F2-A5C1-133DB2B1FF58}"/>
                </a:ext>
              </a:extLst>
            </p:cNvPr>
            <p:cNvSpPr>
              <a:spLocks noChangeAspect="1"/>
            </p:cNvSpPr>
            <p:nvPr/>
          </p:nvSpPr>
          <p:spPr>
            <a:xfrm>
              <a:off x="4029839" y="2192424"/>
              <a:ext cx="624548" cy="624548"/>
            </a:xfrm>
            <a:prstGeom prst="ellipse">
              <a:avLst/>
            </a:prstGeom>
            <a:solidFill>
              <a:schemeClr val="bg1"/>
            </a:solidFill>
            <a:ln w="38100">
              <a:solidFill>
                <a:srgbClr val="FF747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algn="ctr"/>
              <a:r>
                <a:rPr lang="nb-NO" sz="2456" b="1">
                  <a:solidFill>
                    <a:schemeClr val="accent1"/>
                  </a:solidFill>
                </a:rPr>
                <a:t>2</a:t>
              </a:r>
            </a:p>
          </p:txBody>
        </p:sp>
      </p:grpSp>
      <p:sp>
        <p:nvSpPr>
          <p:cNvPr id="17" name="Rounded Rectangle 7">
            <a:extLst>
              <a:ext uri="{FF2B5EF4-FFF2-40B4-BE49-F238E27FC236}">
                <a16:creationId xmlns:a16="http://schemas.microsoft.com/office/drawing/2014/main" id="{768C639E-0A69-82B7-078A-BAE84730D8BB}"/>
              </a:ext>
            </a:extLst>
          </p:cNvPr>
          <p:cNvSpPr>
            <a:spLocks/>
          </p:cNvSpPr>
          <p:nvPr/>
        </p:nvSpPr>
        <p:spPr>
          <a:xfrm>
            <a:off x="4323846" y="3030747"/>
            <a:ext cx="2005541" cy="2253506"/>
          </a:xfrm>
          <a:prstGeom prst="roundRect">
            <a:avLst>
              <a:gd name="adj" fmla="val 13052"/>
            </a:avLst>
          </a:prstGeom>
          <a:noFill/>
          <a:ln w="12700">
            <a:solidFill>
              <a:srgbClr val="FFD39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5" tIns="252600" rIns="31575" bIns="40100" numCol="1" spcCol="0" rtlCol="0" fromWordArt="0" anchor="t" anchorCtr="0" forceAA="0" compatLnSpc="1">
            <a:prstTxWarp prst="textNoShape">
              <a:avLst/>
            </a:prstTxWarp>
            <a:noAutofit/>
          </a:bodyPr>
          <a:lstStyle/>
          <a:p>
            <a:pPr algn="ctr"/>
            <a:r>
              <a:rPr lang="nb-NO" sz="965" b="1" dirty="0">
                <a:solidFill>
                  <a:schemeClr val="tx1"/>
                </a:solidFill>
              </a:rPr>
              <a:t>Implementering</a:t>
            </a:r>
          </a:p>
          <a:p>
            <a:pPr algn="ctr"/>
            <a:endParaRPr lang="nb-NO" sz="965" b="1" dirty="0">
              <a:solidFill>
                <a:schemeClr val="tx1"/>
              </a:solidFill>
            </a:endParaRPr>
          </a:p>
          <a:p>
            <a:pPr marL="250631" indent="-250631">
              <a:buFont typeface="Arial" panose="020B0604020202020204" pitchFamily="34" charset="0"/>
              <a:buChar char="•"/>
            </a:pPr>
            <a:r>
              <a:rPr lang="nb-NO" sz="965" dirty="0">
                <a:solidFill>
                  <a:schemeClr val="tx1"/>
                </a:solidFill>
              </a:rPr>
              <a:t>Realisere beslutning</a:t>
            </a:r>
          </a:p>
          <a:p>
            <a:pPr marL="250631" indent="-250631">
              <a:buFont typeface="Arial" panose="020B0604020202020204" pitchFamily="34" charset="0"/>
              <a:buChar char="•"/>
            </a:pPr>
            <a:r>
              <a:rPr lang="nb-NO" sz="965" dirty="0">
                <a:solidFill>
                  <a:schemeClr val="tx1"/>
                </a:solidFill>
              </a:rPr>
              <a:t>Byggeprosjekt</a:t>
            </a:r>
          </a:p>
          <a:p>
            <a:pPr marL="250631" indent="-250631">
              <a:buFont typeface="Arial" panose="020B0604020202020204" pitchFamily="34" charset="0"/>
              <a:buChar char="•"/>
            </a:pPr>
            <a:r>
              <a:rPr lang="nb-NO" sz="965" dirty="0">
                <a:solidFill>
                  <a:schemeClr val="tx1"/>
                </a:solidFill>
              </a:rPr>
              <a:t>Involvering og kommunikasjon</a:t>
            </a:r>
          </a:p>
          <a:p>
            <a:pPr marL="250631" indent="-250631">
              <a:buFont typeface="Arial" panose="020B0604020202020204" pitchFamily="34" charset="0"/>
              <a:buChar char="•"/>
            </a:pPr>
            <a:r>
              <a:rPr lang="nb-NO" sz="965" dirty="0">
                <a:solidFill>
                  <a:schemeClr val="tx1"/>
                </a:solidFill>
              </a:rPr>
              <a:t>Skape trygghet og modning</a:t>
            </a:r>
          </a:p>
          <a:p>
            <a:pPr marL="250631" indent="-250631">
              <a:buFont typeface="Arial" panose="020B0604020202020204" pitchFamily="34" charset="0"/>
              <a:buChar char="•"/>
            </a:pPr>
            <a:r>
              <a:rPr lang="nb-NO" sz="965" dirty="0">
                <a:solidFill>
                  <a:schemeClr val="tx1"/>
                </a:solidFill>
              </a:rPr>
              <a:t>Pilotere</a:t>
            </a:r>
          </a:p>
        </p:txBody>
      </p:sp>
      <p:grpSp>
        <p:nvGrpSpPr>
          <p:cNvPr id="18" name="Group 17">
            <a:extLst>
              <a:ext uri="{FF2B5EF4-FFF2-40B4-BE49-F238E27FC236}">
                <a16:creationId xmlns:a16="http://schemas.microsoft.com/office/drawing/2014/main" id="{DB332DA7-8F94-6562-BFDC-133D0AA006F9}"/>
              </a:ext>
            </a:extLst>
          </p:cNvPr>
          <p:cNvGrpSpPr/>
          <p:nvPr/>
        </p:nvGrpSpPr>
        <p:grpSpPr>
          <a:xfrm>
            <a:off x="5022523" y="1611738"/>
            <a:ext cx="812272" cy="1643498"/>
            <a:chOff x="6916797" y="956115"/>
            <a:chExt cx="926106" cy="1873822"/>
          </a:xfrm>
        </p:grpSpPr>
        <p:sp>
          <p:nvSpPr>
            <p:cNvPr id="19" name="Tree16" descr="{&quot;Key&quot;:&quot;POWER_USER_SHAPE_ICON&quot;,&quot;Value&quot;:&quot;POWER_USER_SHAPE_ICON_STYLE_1&quot;}">
              <a:extLst>
                <a:ext uri="{FF2B5EF4-FFF2-40B4-BE49-F238E27FC236}">
                  <a16:creationId xmlns:a16="http://schemas.microsoft.com/office/drawing/2014/main" id="{2B19D57D-9DC2-558F-3DC5-DA8CE07A8256}"/>
                </a:ext>
              </a:extLst>
            </p:cNvPr>
            <p:cNvSpPr>
              <a:spLocks noEditPoints="1"/>
            </p:cNvSpPr>
            <p:nvPr>
              <p:custDataLst>
                <p:tags r:id="rId5"/>
              </p:custDataLst>
            </p:nvPr>
          </p:nvSpPr>
          <p:spPr bwMode="auto">
            <a:xfrm>
              <a:off x="6916797" y="956115"/>
              <a:ext cx="628650" cy="1004888"/>
            </a:xfrm>
            <a:custGeom>
              <a:avLst/>
              <a:gdLst>
                <a:gd name="T0" fmla="*/ 4475 w 6099"/>
                <a:gd name="T1" fmla="*/ 4769 h 9759"/>
                <a:gd name="T2" fmla="*/ 4299 w 6099"/>
                <a:gd name="T3" fmla="*/ 3797 h 9759"/>
                <a:gd name="T4" fmla="*/ 3787 w 6099"/>
                <a:gd name="T5" fmla="*/ 4642 h 9759"/>
                <a:gd name="T6" fmla="*/ 4017 w 6099"/>
                <a:gd name="T7" fmla="*/ 5321 h 9759"/>
                <a:gd name="T8" fmla="*/ 4475 w 6099"/>
                <a:gd name="T9" fmla="*/ 4769 h 9759"/>
                <a:gd name="T10" fmla="*/ 4294 w 6099"/>
                <a:gd name="T11" fmla="*/ 5865 h 9759"/>
                <a:gd name="T12" fmla="*/ 4840 w 6099"/>
                <a:gd name="T13" fmla="*/ 6330 h 9759"/>
                <a:gd name="T14" fmla="*/ 5814 w 6099"/>
                <a:gd name="T15" fmla="*/ 6167 h 9759"/>
                <a:gd name="T16" fmla="*/ 4976 w 6099"/>
                <a:gd name="T17" fmla="*/ 5644 h 9759"/>
                <a:gd name="T18" fmla="*/ 4294 w 6099"/>
                <a:gd name="T19" fmla="*/ 5865 h 9759"/>
                <a:gd name="T20" fmla="*/ 4460 w 6099"/>
                <a:gd name="T21" fmla="*/ 2245 h 9759"/>
                <a:gd name="T22" fmla="*/ 4775 w 6099"/>
                <a:gd name="T23" fmla="*/ 1308 h 9759"/>
                <a:gd name="T24" fmla="*/ 3919 w 6099"/>
                <a:gd name="T25" fmla="*/ 1802 h 9759"/>
                <a:gd name="T26" fmla="*/ 3793 w 6099"/>
                <a:gd name="T27" fmla="*/ 2508 h 9759"/>
                <a:gd name="T28" fmla="*/ 4460 w 6099"/>
                <a:gd name="T29" fmla="*/ 2245 h 9759"/>
                <a:gd name="T30" fmla="*/ 853 w 6099"/>
                <a:gd name="T31" fmla="*/ 3603 h 9759"/>
                <a:gd name="T32" fmla="*/ 1461 w 6099"/>
                <a:gd name="T33" fmla="*/ 3505 h 9759"/>
                <a:gd name="T34" fmla="*/ 1059 w 6099"/>
                <a:gd name="T35" fmla="*/ 3038 h 9759"/>
                <a:gd name="T36" fmla="*/ 210 w 6099"/>
                <a:gd name="T37" fmla="*/ 3047 h 9759"/>
                <a:gd name="T38" fmla="*/ 853 w 6099"/>
                <a:gd name="T39" fmla="*/ 3603 h 9759"/>
                <a:gd name="T40" fmla="*/ 2433 w 6099"/>
                <a:gd name="T41" fmla="*/ 4843 h 9759"/>
                <a:gd name="T42" fmla="*/ 2220 w 6099"/>
                <a:gd name="T43" fmla="*/ 5155 h 9759"/>
                <a:gd name="T44" fmla="*/ 1415 w 6099"/>
                <a:gd name="T45" fmla="*/ 7476 h 9759"/>
                <a:gd name="T46" fmla="*/ 1661 w 6099"/>
                <a:gd name="T47" fmla="*/ 9046 h 9759"/>
                <a:gd name="T48" fmla="*/ 2666 w 6099"/>
                <a:gd name="T49" fmla="*/ 9046 h 9759"/>
                <a:gd name="T50" fmla="*/ 2274 w 6099"/>
                <a:gd name="T51" fmla="*/ 6389 h 9759"/>
                <a:gd name="T52" fmla="*/ 4874 w 6099"/>
                <a:gd name="T53" fmla="*/ 5159 h 9759"/>
                <a:gd name="T54" fmla="*/ 5761 w 6099"/>
                <a:gd name="T55" fmla="*/ 4796 h 9759"/>
                <a:gd name="T56" fmla="*/ 6075 w 6099"/>
                <a:gd name="T57" fmla="*/ 3321 h 9759"/>
                <a:gd name="T58" fmla="*/ 4984 w 6099"/>
                <a:gd name="T59" fmla="*/ 4170 h 9759"/>
                <a:gd name="T60" fmla="*/ 4790 w 6099"/>
                <a:gd name="T61" fmla="*/ 5025 h 9759"/>
                <a:gd name="T62" fmla="*/ 2468 w 6099"/>
                <a:gd name="T63" fmla="*/ 5804 h 9759"/>
                <a:gd name="T64" fmla="*/ 2664 w 6099"/>
                <a:gd name="T65" fmla="*/ 5393 h 9759"/>
                <a:gd name="T66" fmla="*/ 3554 w 6099"/>
                <a:gd name="T67" fmla="*/ 3216 h 9759"/>
                <a:gd name="T68" fmla="*/ 3566 w 6099"/>
                <a:gd name="T69" fmla="*/ 1986 h 9759"/>
                <a:gd name="T70" fmla="*/ 3702 w 6099"/>
                <a:gd name="T71" fmla="*/ 1040 h 9759"/>
                <a:gd name="T72" fmla="*/ 2799 w 6099"/>
                <a:gd name="T73" fmla="*/ 0 h 9759"/>
                <a:gd name="T74" fmla="*/ 2788 w 6099"/>
                <a:gd name="T75" fmla="*/ 1378 h 9759"/>
                <a:gd name="T76" fmla="*/ 3456 w 6099"/>
                <a:gd name="T77" fmla="*/ 1984 h 9759"/>
                <a:gd name="T78" fmla="*/ 2616 w 6099"/>
                <a:gd name="T79" fmla="*/ 4560 h 9759"/>
                <a:gd name="T80" fmla="*/ 1665 w 6099"/>
                <a:gd name="T81" fmla="*/ 3327 h 9759"/>
                <a:gd name="T82" fmla="*/ 2014 w 6099"/>
                <a:gd name="T83" fmla="*/ 2756 h 9759"/>
                <a:gd name="T84" fmla="*/ 1718 w 6099"/>
                <a:gd name="T85" fmla="*/ 1787 h 9759"/>
                <a:gd name="T86" fmla="*/ 1299 w 6099"/>
                <a:gd name="T87" fmla="*/ 2709 h 9759"/>
                <a:gd name="T88" fmla="*/ 1571 w 6099"/>
                <a:gd name="T89" fmla="*/ 3321 h 9759"/>
                <a:gd name="T90" fmla="*/ 2433 w 6099"/>
                <a:gd name="T91" fmla="*/ 4843 h 9759"/>
                <a:gd name="T92" fmla="*/ 0 w 6099"/>
                <a:gd name="T93" fmla="*/ 9759 h 9759"/>
                <a:gd name="T94" fmla="*/ 4288 w 6099"/>
                <a:gd name="T95" fmla="*/ 9759 h 9759"/>
                <a:gd name="T96" fmla="*/ 4288 w 6099"/>
                <a:gd name="T97" fmla="*/ 9336 h 9759"/>
                <a:gd name="T98" fmla="*/ 0 w 6099"/>
                <a:gd name="T99" fmla="*/ 9336 h 9759"/>
                <a:gd name="T100" fmla="*/ 0 w 6099"/>
                <a:gd name="T101" fmla="*/ 9759 h 9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99" h="9759">
                  <a:moveTo>
                    <a:pt x="4475" y="4769"/>
                  </a:moveTo>
                  <a:cubicBezTo>
                    <a:pt x="4542" y="4403"/>
                    <a:pt x="4397" y="4115"/>
                    <a:pt x="4299" y="3797"/>
                  </a:cubicBezTo>
                  <a:cubicBezTo>
                    <a:pt x="4095" y="4059"/>
                    <a:pt x="3855" y="4276"/>
                    <a:pt x="3787" y="4642"/>
                  </a:cubicBezTo>
                  <a:cubicBezTo>
                    <a:pt x="3744" y="4879"/>
                    <a:pt x="3846" y="5068"/>
                    <a:pt x="4017" y="5321"/>
                  </a:cubicBezTo>
                  <a:cubicBezTo>
                    <a:pt x="4268" y="5146"/>
                    <a:pt x="4431" y="5006"/>
                    <a:pt x="4475" y="4769"/>
                  </a:cubicBezTo>
                  <a:close/>
                  <a:moveTo>
                    <a:pt x="4294" y="5865"/>
                  </a:moveTo>
                  <a:cubicBezTo>
                    <a:pt x="4466" y="6118"/>
                    <a:pt x="4604" y="6283"/>
                    <a:pt x="4840" y="6330"/>
                  </a:cubicBezTo>
                  <a:cubicBezTo>
                    <a:pt x="5205" y="6402"/>
                    <a:pt x="5495" y="6260"/>
                    <a:pt x="5814" y="6167"/>
                  </a:cubicBezTo>
                  <a:cubicBezTo>
                    <a:pt x="5555" y="5959"/>
                    <a:pt x="5341" y="5717"/>
                    <a:pt x="4976" y="5644"/>
                  </a:cubicBezTo>
                  <a:cubicBezTo>
                    <a:pt x="4741" y="5597"/>
                    <a:pt x="4550" y="5696"/>
                    <a:pt x="4294" y="5865"/>
                  </a:cubicBezTo>
                  <a:close/>
                  <a:moveTo>
                    <a:pt x="4460" y="2245"/>
                  </a:moveTo>
                  <a:cubicBezTo>
                    <a:pt x="4696" y="1957"/>
                    <a:pt x="4707" y="1634"/>
                    <a:pt x="4775" y="1308"/>
                  </a:cubicBezTo>
                  <a:cubicBezTo>
                    <a:pt x="4470" y="1440"/>
                    <a:pt x="4155" y="1514"/>
                    <a:pt x="3919" y="1802"/>
                  </a:cubicBezTo>
                  <a:cubicBezTo>
                    <a:pt x="3767" y="1988"/>
                    <a:pt x="3765" y="2203"/>
                    <a:pt x="3793" y="2508"/>
                  </a:cubicBezTo>
                  <a:cubicBezTo>
                    <a:pt x="4098" y="2475"/>
                    <a:pt x="4308" y="2431"/>
                    <a:pt x="4460" y="2245"/>
                  </a:cubicBezTo>
                  <a:close/>
                  <a:moveTo>
                    <a:pt x="853" y="3603"/>
                  </a:moveTo>
                  <a:cubicBezTo>
                    <a:pt x="1046" y="3673"/>
                    <a:pt x="1222" y="3614"/>
                    <a:pt x="1461" y="3505"/>
                  </a:cubicBezTo>
                  <a:cubicBezTo>
                    <a:pt x="1349" y="3268"/>
                    <a:pt x="1253" y="3109"/>
                    <a:pt x="1059" y="3038"/>
                  </a:cubicBezTo>
                  <a:cubicBezTo>
                    <a:pt x="759" y="2928"/>
                    <a:pt x="494" y="3010"/>
                    <a:pt x="210" y="3047"/>
                  </a:cubicBezTo>
                  <a:cubicBezTo>
                    <a:pt x="403" y="3258"/>
                    <a:pt x="552" y="3492"/>
                    <a:pt x="853" y="3603"/>
                  </a:cubicBezTo>
                  <a:close/>
                  <a:moveTo>
                    <a:pt x="2433" y="4843"/>
                  </a:moveTo>
                  <a:cubicBezTo>
                    <a:pt x="2363" y="4948"/>
                    <a:pt x="2292" y="5053"/>
                    <a:pt x="2220" y="5155"/>
                  </a:cubicBezTo>
                  <a:cubicBezTo>
                    <a:pt x="1810" y="5817"/>
                    <a:pt x="1441" y="6604"/>
                    <a:pt x="1415" y="7476"/>
                  </a:cubicBezTo>
                  <a:cubicBezTo>
                    <a:pt x="1392" y="8018"/>
                    <a:pt x="1493" y="8547"/>
                    <a:pt x="1661" y="9046"/>
                  </a:cubicBezTo>
                  <a:lnTo>
                    <a:pt x="2666" y="9046"/>
                  </a:lnTo>
                  <a:cubicBezTo>
                    <a:pt x="2200" y="8223"/>
                    <a:pt x="2053" y="7305"/>
                    <a:pt x="2274" y="6389"/>
                  </a:cubicBezTo>
                  <a:cubicBezTo>
                    <a:pt x="3291" y="6301"/>
                    <a:pt x="4184" y="5817"/>
                    <a:pt x="4874" y="5159"/>
                  </a:cubicBezTo>
                  <a:cubicBezTo>
                    <a:pt x="5291" y="5199"/>
                    <a:pt x="5558" y="5039"/>
                    <a:pt x="5761" y="4796"/>
                  </a:cubicBezTo>
                  <a:cubicBezTo>
                    <a:pt x="6094" y="4398"/>
                    <a:pt x="6099" y="3832"/>
                    <a:pt x="6075" y="3321"/>
                  </a:cubicBezTo>
                  <a:cubicBezTo>
                    <a:pt x="5712" y="3802"/>
                    <a:pt x="5317" y="3772"/>
                    <a:pt x="4984" y="4170"/>
                  </a:cubicBezTo>
                  <a:cubicBezTo>
                    <a:pt x="4792" y="4400"/>
                    <a:pt x="4767" y="4666"/>
                    <a:pt x="4790" y="5025"/>
                  </a:cubicBezTo>
                  <a:cubicBezTo>
                    <a:pt x="4086" y="5516"/>
                    <a:pt x="3275" y="5812"/>
                    <a:pt x="2468" y="5804"/>
                  </a:cubicBezTo>
                  <a:cubicBezTo>
                    <a:pt x="2525" y="5667"/>
                    <a:pt x="2589" y="5529"/>
                    <a:pt x="2664" y="5393"/>
                  </a:cubicBezTo>
                  <a:cubicBezTo>
                    <a:pt x="2983" y="4706"/>
                    <a:pt x="3390" y="4007"/>
                    <a:pt x="3554" y="3216"/>
                  </a:cubicBezTo>
                  <a:cubicBezTo>
                    <a:pt x="3644" y="2806"/>
                    <a:pt x="3639" y="2388"/>
                    <a:pt x="3566" y="1986"/>
                  </a:cubicBezTo>
                  <a:cubicBezTo>
                    <a:pt x="3729" y="1619"/>
                    <a:pt x="3814" y="1343"/>
                    <a:pt x="3702" y="1040"/>
                  </a:cubicBezTo>
                  <a:cubicBezTo>
                    <a:pt x="3522" y="554"/>
                    <a:pt x="3142" y="312"/>
                    <a:pt x="2799" y="0"/>
                  </a:cubicBezTo>
                  <a:cubicBezTo>
                    <a:pt x="2740" y="461"/>
                    <a:pt x="2608" y="891"/>
                    <a:pt x="2788" y="1378"/>
                  </a:cubicBezTo>
                  <a:cubicBezTo>
                    <a:pt x="2894" y="1666"/>
                    <a:pt x="3121" y="1820"/>
                    <a:pt x="3456" y="1984"/>
                  </a:cubicBezTo>
                  <a:cubicBezTo>
                    <a:pt x="3500" y="2889"/>
                    <a:pt x="3115" y="3758"/>
                    <a:pt x="2616" y="4560"/>
                  </a:cubicBezTo>
                  <a:cubicBezTo>
                    <a:pt x="2167" y="4296"/>
                    <a:pt x="1815" y="3851"/>
                    <a:pt x="1665" y="3327"/>
                  </a:cubicBezTo>
                  <a:cubicBezTo>
                    <a:pt x="1869" y="3140"/>
                    <a:pt x="1999" y="2983"/>
                    <a:pt x="2014" y="2756"/>
                  </a:cubicBezTo>
                  <a:cubicBezTo>
                    <a:pt x="2039" y="2375"/>
                    <a:pt x="1855" y="2099"/>
                    <a:pt x="1718" y="1787"/>
                  </a:cubicBezTo>
                  <a:cubicBezTo>
                    <a:pt x="1541" y="2079"/>
                    <a:pt x="1324" y="2329"/>
                    <a:pt x="1299" y="2709"/>
                  </a:cubicBezTo>
                  <a:cubicBezTo>
                    <a:pt x="1284" y="2937"/>
                    <a:pt x="1392" y="3109"/>
                    <a:pt x="1571" y="3321"/>
                  </a:cubicBezTo>
                  <a:cubicBezTo>
                    <a:pt x="1643" y="3899"/>
                    <a:pt x="1952" y="4461"/>
                    <a:pt x="2433" y="4843"/>
                  </a:cubicBezTo>
                  <a:close/>
                  <a:moveTo>
                    <a:pt x="0" y="9759"/>
                  </a:moveTo>
                  <a:lnTo>
                    <a:pt x="4288" y="9759"/>
                  </a:lnTo>
                  <a:lnTo>
                    <a:pt x="4288" y="9336"/>
                  </a:lnTo>
                  <a:lnTo>
                    <a:pt x="0" y="9336"/>
                  </a:lnTo>
                  <a:lnTo>
                    <a:pt x="0" y="9759"/>
                  </a:lnTo>
                  <a:close/>
                </a:path>
              </a:pathLst>
            </a:custGeom>
            <a:solidFill>
              <a:srgbClr val="FFD396"/>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20" name="Tree17" descr="{&quot;Key&quot;:&quot;POWER_USER_SHAPE_ICON&quot;,&quot;Value&quot;:&quot;POWER_USER_SHAPE_ICON_STYLE_1&quot;}">
              <a:extLst>
                <a:ext uri="{FF2B5EF4-FFF2-40B4-BE49-F238E27FC236}">
                  <a16:creationId xmlns:a16="http://schemas.microsoft.com/office/drawing/2014/main" id="{39F86192-3D3C-68A3-E890-AD0B36A856CA}"/>
                </a:ext>
              </a:extLst>
            </p:cNvPr>
            <p:cNvSpPr>
              <a:spLocks noEditPoints="1"/>
            </p:cNvSpPr>
            <p:nvPr>
              <p:custDataLst>
                <p:tags r:id="rId6"/>
              </p:custDataLst>
            </p:nvPr>
          </p:nvSpPr>
          <p:spPr bwMode="auto">
            <a:xfrm>
              <a:off x="7488523" y="1242876"/>
              <a:ext cx="354380" cy="624548"/>
            </a:xfrm>
            <a:custGeom>
              <a:avLst/>
              <a:gdLst>
                <a:gd name="T0" fmla="*/ 5043 w 7325"/>
                <a:gd name="T1" fmla="*/ 3609 h 10403"/>
                <a:gd name="T2" fmla="*/ 5565 w 7325"/>
                <a:gd name="T3" fmla="*/ 5820 h 10403"/>
                <a:gd name="T4" fmla="*/ 5915 w 7325"/>
                <a:gd name="T5" fmla="*/ 5982 h 10403"/>
                <a:gd name="T6" fmla="*/ 6327 w 7325"/>
                <a:gd name="T7" fmla="*/ 5724 h 10403"/>
                <a:gd name="T8" fmla="*/ 6712 w 7325"/>
                <a:gd name="T9" fmla="*/ 5700 h 10403"/>
                <a:gd name="T10" fmla="*/ 6280 w 7325"/>
                <a:gd name="T11" fmla="*/ 5348 h 10403"/>
                <a:gd name="T12" fmla="*/ 4837 w 7325"/>
                <a:gd name="T13" fmla="*/ 4275 h 10403"/>
                <a:gd name="T14" fmla="*/ 5354 w 7325"/>
                <a:gd name="T15" fmla="*/ 4373 h 10403"/>
                <a:gd name="T16" fmla="*/ 4322 w 7325"/>
                <a:gd name="T17" fmla="*/ 1191 h 10403"/>
                <a:gd name="T18" fmla="*/ 4438 w 7325"/>
                <a:gd name="T19" fmla="*/ 1693 h 10403"/>
                <a:gd name="T20" fmla="*/ 844 w 7325"/>
                <a:gd name="T21" fmla="*/ 3448 h 10403"/>
                <a:gd name="T22" fmla="*/ 603 w 7325"/>
                <a:gd name="T23" fmla="*/ 4937 h 10403"/>
                <a:gd name="T24" fmla="*/ 0 w 7325"/>
                <a:gd name="T25" fmla="*/ 4924 h 10403"/>
                <a:gd name="T26" fmla="*/ 1325 w 7325"/>
                <a:gd name="T27" fmla="*/ 4392 h 10403"/>
                <a:gd name="T28" fmla="*/ 1010 w 7325"/>
                <a:gd name="T29" fmla="*/ 4322 h 10403"/>
                <a:gd name="T30" fmla="*/ 4699 w 7325"/>
                <a:gd name="T31" fmla="*/ 1135 h 10403"/>
                <a:gd name="T32" fmla="*/ 4810 w 7325"/>
                <a:gd name="T33" fmla="*/ 2000 h 10403"/>
                <a:gd name="T34" fmla="*/ 5300 w 7325"/>
                <a:gd name="T35" fmla="*/ 2194 h 10403"/>
                <a:gd name="T36" fmla="*/ 6967 w 7325"/>
                <a:gd name="T37" fmla="*/ 5431 h 10403"/>
                <a:gd name="T38" fmla="*/ 6462 w 7325"/>
                <a:gd name="T39" fmla="*/ 5477 h 10403"/>
                <a:gd name="T40" fmla="*/ 6300 w 7325"/>
                <a:gd name="T41" fmla="*/ 4466 h 10403"/>
                <a:gd name="T42" fmla="*/ 5727 w 7325"/>
                <a:gd name="T43" fmla="*/ 4620 h 10403"/>
                <a:gd name="T44" fmla="*/ 5454 w 7325"/>
                <a:gd name="T45" fmla="*/ 3974 h 10403"/>
                <a:gd name="T46" fmla="*/ 5102 w 7325"/>
                <a:gd name="T47" fmla="*/ 3859 h 10403"/>
                <a:gd name="T48" fmla="*/ 2782 w 7325"/>
                <a:gd name="T49" fmla="*/ 5458 h 10403"/>
                <a:gd name="T50" fmla="*/ 3697 w 7325"/>
                <a:gd name="T51" fmla="*/ 3363 h 10403"/>
                <a:gd name="T52" fmla="*/ 5473 w 7325"/>
                <a:gd name="T53" fmla="*/ 1821 h 10403"/>
                <a:gd name="T54" fmla="*/ 5149 w 7325"/>
                <a:gd name="T55" fmla="*/ 1642 h 10403"/>
                <a:gd name="T56" fmla="*/ 3897 w 7325"/>
                <a:gd name="T57" fmla="*/ 850 h 10403"/>
                <a:gd name="T58" fmla="*/ 3670 w 7325"/>
                <a:gd name="T59" fmla="*/ 1607 h 10403"/>
                <a:gd name="T60" fmla="*/ 1936 w 7325"/>
                <a:gd name="T61" fmla="*/ 3795 h 10403"/>
                <a:gd name="T62" fmla="*/ 2297 w 7325"/>
                <a:gd name="T63" fmla="*/ 1330 h 10403"/>
                <a:gd name="T64" fmla="*/ 1811 w 7325"/>
                <a:gd name="T65" fmla="*/ 3622 h 10403"/>
                <a:gd name="T66" fmla="*/ 1236 w 7325"/>
                <a:gd name="T67" fmla="*/ 734 h 10403"/>
                <a:gd name="T68" fmla="*/ 1977 w 7325"/>
                <a:gd name="T69" fmla="*/ 4305 h 10403"/>
                <a:gd name="T70" fmla="*/ 54 w 7325"/>
                <a:gd name="T71" fmla="*/ 3969 h 10403"/>
                <a:gd name="T72" fmla="*/ 2156 w 7325"/>
                <a:gd name="T73" fmla="*/ 4505 h 10403"/>
                <a:gd name="T74" fmla="*/ 1364 w 7325"/>
                <a:gd name="T75" fmla="*/ 7823 h 10403"/>
                <a:gd name="T76" fmla="*/ 2340 w 7325"/>
                <a:gd name="T77" fmla="*/ 6589 h 10403"/>
                <a:gd name="T78" fmla="*/ 2708 w 7325"/>
                <a:gd name="T79" fmla="*/ 3114 h 10403"/>
                <a:gd name="T80" fmla="*/ 3230 w 7325"/>
                <a:gd name="T81" fmla="*/ 3219 h 10403"/>
                <a:gd name="T82" fmla="*/ 2662 w 7325"/>
                <a:gd name="T83" fmla="*/ 2630 h 10403"/>
                <a:gd name="T84" fmla="*/ 2813 w 7325"/>
                <a:gd name="T85" fmla="*/ 2276 h 10403"/>
                <a:gd name="T86" fmla="*/ 1891 w 7325"/>
                <a:gd name="T87" fmla="*/ 2170 h 10403"/>
                <a:gd name="T88" fmla="*/ 230 w 7325"/>
                <a:gd name="T89" fmla="*/ 1933 h 10403"/>
                <a:gd name="T90" fmla="*/ 884 w 7325"/>
                <a:gd name="T91" fmla="*/ 2233 h 10403"/>
                <a:gd name="T92" fmla="*/ 4472 w 7325"/>
                <a:gd name="T93" fmla="*/ 10403 h 10403"/>
                <a:gd name="T94" fmla="*/ 184 w 7325"/>
                <a:gd name="T95" fmla="*/ 10403 h 10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25" h="10403">
                  <a:moveTo>
                    <a:pt x="4564" y="3446"/>
                  </a:moveTo>
                  <a:cubicBezTo>
                    <a:pt x="4508" y="3611"/>
                    <a:pt x="4561" y="3757"/>
                    <a:pt x="4658" y="3956"/>
                  </a:cubicBezTo>
                  <a:cubicBezTo>
                    <a:pt x="4855" y="3857"/>
                    <a:pt x="4987" y="3774"/>
                    <a:pt x="5043" y="3609"/>
                  </a:cubicBezTo>
                  <a:cubicBezTo>
                    <a:pt x="5129" y="3354"/>
                    <a:pt x="5055" y="3133"/>
                    <a:pt x="5019" y="2895"/>
                  </a:cubicBezTo>
                  <a:cubicBezTo>
                    <a:pt x="4845" y="3062"/>
                    <a:pt x="4651" y="3192"/>
                    <a:pt x="4564" y="3446"/>
                  </a:cubicBezTo>
                  <a:close/>
                  <a:moveTo>
                    <a:pt x="5565" y="5820"/>
                  </a:moveTo>
                  <a:cubicBezTo>
                    <a:pt x="5540" y="5983"/>
                    <a:pt x="5535" y="6099"/>
                    <a:pt x="5611" y="6204"/>
                  </a:cubicBezTo>
                  <a:cubicBezTo>
                    <a:pt x="5729" y="6366"/>
                    <a:pt x="5895" y="6415"/>
                    <a:pt x="6055" y="6495"/>
                  </a:cubicBezTo>
                  <a:cubicBezTo>
                    <a:pt x="6029" y="6318"/>
                    <a:pt x="6033" y="6144"/>
                    <a:pt x="5915" y="5982"/>
                  </a:cubicBezTo>
                  <a:cubicBezTo>
                    <a:pt x="5839" y="5878"/>
                    <a:pt x="5727" y="5847"/>
                    <a:pt x="5565" y="5820"/>
                  </a:cubicBezTo>
                  <a:close/>
                  <a:moveTo>
                    <a:pt x="6712" y="5700"/>
                  </a:moveTo>
                  <a:cubicBezTo>
                    <a:pt x="6595" y="5644"/>
                    <a:pt x="6482" y="5670"/>
                    <a:pt x="6327" y="5724"/>
                  </a:cubicBezTo>
                  <a:cubicBezTo>
                    <a:pt x="6382" y="5879"/>
                    <a:pt x="6432" y="5983"/>
                    <a:pt x="6549" y="6039"/>
                  </a:cubicBezTo>
                  <a:cubicBezTo>
                    <a:pt x="6730" y="6125"/>
                    <a:pt x="6900" y="6090"/>
                    <a:pt x="7079" y="6084"/>
                  </a:cubicBezTo>
                  <a:cubicBezTo>
                    <a:pt x="6972" y="5941"/>
                    <a:pt x="6892" y="5786"/>
                    <a:pt x="6712" y="5700"/>
                  </a:cubicBezTo>
                  <a:close/>
                  <a:moveTo>
                    <a:pt x="5964" y="5144"/>
                  </a:moveTo>
                  <a:cubicBezTo>
                    <a:pt x="5894" y="5253"/>
                    <a:pt x="5906" y="5368"/>
                    <a:pt x="5939" y="5529"/>
                  </a:cubicBezTo>
                  <a:cubicBezTo>
                    <a:pt x="6100" y="5494"/>
                    <a:pt x="6210" y="5457"/>
                    <a:pt x="6280" y="5348"/>
                  </a:cubicBezTo>
                  <a:cubicBezTo>
                    <a:pt x="6389" y="5180"/>
                    <a:pt x="6375" y="5007"/>
                    <a:pt x="6392" y="4828"/>
                  </a:cubicBezTo>
                  <a:cubicBezTo>
                    <a:pt x="6236" y="4917"/>
                    <a:pt x="6073" y="4976"/>
                    <a:pt x="5964" y="5144"/>
                  </a:cubicBezTo>
                  <a:close/>
                  <a:moveTo>
                    <a:pt x="4837" y="4275"/>
                  </a:moveTo>
                  <a:cubicBezTo>
                    <a:pt x="4711" y="4297"/>
                    <a:pt x="4636" y="4383"/>
                    <a:pt x="4541" y="4516"/>
                  </a:cubicBezTo>
                  <a:cubicBezTo>
                    <a:pt x="4675" y="4609"/>
                    <a:pt x="4776" y="4664"/>
                    <a:pt x="4902" y="4642"/>
                  </a:cubicBezTo>
                  <a:cubicBezTo>
                    <a:pt x="5097" y="4608"/>
                    <a:pt x="5214" y="4481"/>
                    <a:pt x="5354" y="4373"/>
                  </a:cubicBezTo>
                  <a:cubicBezTo>
                    <a:pt x="5186" y="4320"/>
                    <a:pt x="5033" y="4241"/>
                    <a:pt x="4837" y="4275"/>
                  </a:cubicBezTo>
                  <a:close/>
                  <a:moveTo>
                    <a:pt x="4438" y="1693"/>
                  </a:moveTo>
                  <a:cubicBezTo>
                    <a:pt x="4464" y="1501"/>
                    <a:pt x="4380" y="1354"/>
                    <a:pt x="4322" y="1191"/>
                  </a:cubicBezTo>
                  <a:cubicBezTo>
                    <a:pt x="4222" y="1333"/>
                    <a:pt x="4103" y="1452"/>
                    <a:pt x="4077" y="1644"/>
                  </a:cubicBezTo>
                  <a:cubicBezTo>
                    <a:pt x="4060" y="1768"/>
                    <a:pt x="4118" y="1864"/>
                    <a:pt x="4214" y="1992"/>
                  </a:cubicBezTo>
                  <a:cubicBezTo>
                    <a:pt x="4340" y="1894"/>
                    <a:pt x="4421" y="1817"/>
                    <a:pt x="4438" y="1693"/>
                  </a:cubicBezTo>
                  <a:close/>
                  <a:moveTo>
                    <a:pt x="989" y="3052"/>
                  </a:moveTo>
                  <a:cubicBezTo>
                    <a:pt x="778" y="2975"/>
                    <a:pt x="592" y="3032"/>
                    <a:pt x="393" y="3058"/>
                  </a:cubicBezTo>
                  <a:cubicBezTo>
                    <a:pt x="528" y="3207"/>
                    <a:pt x="633" y="3371"/>
                    <a:pt x="844" y="3448"/>
                  </a:cubicBezTo>
                  <a:cubicBezTo>
                    <a:pt x="980" y="3498"/>
                    <a:pt x="1103" y="3457"/>
                    <a:pt x="1271" y="3380"/>
                  </a:cubicBezTo>
                  <a:cubicBezTo>
                    <a:pt x="1193" y="3213"/>
                    <a:pt x="1126" y="3102"/>
                    <a:pt x="989" y="3052"/>
                  </a:cubicBezTo>
                  <a:close/>
                  <a:moveTo>
                    <a:pt x="603" y="4937"/>
                  </a:moveTo>
                  <a:cubicBezTo>
                    <a:pt x="742" y="4888"/>
                    <a:pt x="811" y="4776"/>
                    <a:pt x="892" y="4608"/>
                  </a:cubicBezTo>
                  <a:cubicBezTo>
                    <a:pt x="723" y="4529"/>
                    <a:pt x="599" y="4486"/>
                    <a:pt x="461" y="4534"/>
                  </a:cubicBezTo>
                  <a:cubicBezTo>
                    <a:pt x="246" y="4610"/>
                    <a:pt x="138" y="4775"/>
                    <a:pt x="0" y="4924"/>
                  </a:cubicBezTo>
                  <a:cubicBezTo>
                    <a:pt x="201" y="4952"/>
                    <a:pt x="389" y="5013"/>
                    <a:pt x="603" y="4937"/>
                  </a:cubicBezTo>
                  <a:close/>
                  <a:moveTo>
                    <a:pt x="1010" y="4322"/>
                  </a:moveTo>
                  <a:cubicBezTo>
                    <a:pt x="1091" y="4394"/>
                    <a:pt x="1187" y="4399"/>
                    <a:pt x="1325" y="4392"/>
                  </a:cubicBezTo>
                  <a:cubicBezTo>
                    <a:pt x="1316" y="4255"/>
                    <a:pt x="1300" y="4159"/>
                    <a:pt x="1219" y="4087"/>
                  </a:cubicBezTo>
                  <a:cubicBezTo>
                    <a:pt x="1094" y="3976"/>
                    <a:pt x="949" y="3965"/>
                    <a:pt x="804" y="3927"/>
                  </a:cubicBezTo>
                  <a:cubicBezTo>
                    <a:pt x="857" y="4067"/>
                    <a:pt x="885" y="4210"/>
                    <a:pt x="1010" y="4322"/>
                  </a:cubicBezTo>
                  <a:close/>
                  <a:moveTo>
                    <a:pt x="5138" y="1385"/>
                  </a:moveTo>
                  <a:cubicBezTo>
                    <a:pt x="5271" y="1152"/>
                    <a:pt x="5240" y="920"/>
                    <a:pt x="5249" y="680"/>
                  </a:cubicBezTo>
                  <a:cubicBezTo>
                    <a:pt x="5047" y="810"/>
                    <a:pt x="4832" y="901"/>
                    <a:pt x="4699" y="1135"/>
                  </a:cubicBezTo>
                  <a:cubicBezTo>
                    <a:pt x="4613" y="1286"/>
                    <a:pt x="4637" y="1439"/>
                    <a:pt x="4694" y="1653"/>
                  </a:cubicBezTo>
                  <a:cubicBezTo>
                    <a:pt x="4907" y="1593"/>
                    <a:pt x="5052" y="1536"/>
                    <a:pt x="5138" y="1385"/>
                  </a:cubicBezTo>
                  <a:close/>
                  <a:moveTo>
                    <a:pt x="4810" y="2000"/>
                  </a:moveTo>
                  <a:cubicBezTo>
                    <a:pt x="4683" y="1998"/>
                    <a:pt x="4592" y="2069"/>
                    <a:pt x="4474" y="2181"/>
                  </a:cubicBezTo>
                  <a:cubicBezTo>
                    <a:pt x="4589" y="2297"/>
                    <a:pt x="4677" y="2371"/>
                    <a:pt x="4805" y="2373"/>
                  </a:cubicBezTo>
                  <a:cubicBezTo>
                    <a:pt x="5003" y="2376"/>
                    <a:pt x="5141" y="2274"/>
                    <a:pt x="5300" y="2194"/>
                  </a:cubicBezTo>
                  <a:cubicBezTo>
                    <a:pt x="5144" y="2110"/>
                    <a:pt x="5009" y="2003"/>
                    <a:pt x="4810" y="2000"/>
                  </a:cubicBezTo>
                  <a:close/>
                  <a:moveTo>
                    <a:pt x="6464" y="5522"/>
                  </a:moveTo>
                  <a:cubicBezTo>
                    <a:pt x="6680" y="5542"/>
                    <a:pt x="6834" y="5540"/>
                    <a:pt x="6967" y="5431"/>
                  </a:cubicBezTo>
                  <a:cubicBezTo>
                    <a:pt x="7176" y="5261"/>
                    <a:pt x="7230" y="5034"/>
                    <a:pt x="7325" y="4813"/>
                  </a:cubicBezTo>
                  <a:cubicBezTo>
                    <a:pt x="7090" y="4862"/>
                    <a:pt x="6856" y="4870"/>
                    <a:pt x="6648" y="5040"/>
                  </a:cubicBezTo>
                  <a:cubicBezTo>
                    <a:pt x="6523" y="5142"/>
                    <a:pt x="6486" y="5281"/>
                    <a:pt x="6462" y="5477"/>
                  </a:cubicBezTo>
                  <a:cubicBezTo>
                    <a:pt x="5999" y="5648"/>
                    <a:pt x="5482" y="5615"/>
                    <a:pt x="5056" y="5404"/>
                  </a:cubicBezTo>
                  <a:cubicBezTo>
                    <a:pt x="5318" y="5181"/>
                    <a:pt x="5557" y="4936"/>
                    <a:pt x="5772" y="4677"/>
                  </a:cubicBezTo>
                  <a:cubicBezTo>
                    <a:pt x="6008" y="4653"/>
                    <a:pt x="6175" y="4613"/>
                    <a:pt x="6300" y="4466"/>
                  </a:cubicBezTo>
                  <a:cubicBezTo>
                    <a:pt x="6503" y="4225"/>
                    <a:pt x="6517" y="3952"/>
                    <a:pt x="6578" y="3676"/>
                  </a:cubicBezTo>
                  <a:cubicBezTo>
                    <a:pt x="6317" y="3784"/>
                    <a:pt x="6050" y="3843"/>
                    <a:pt x="5846" y="4084"/>
                  </a:cubicBezTo>
                  <a:cubicBezTo>
                    <a:pt x="5726" y="4227"/>
                    <a:pt x="5713" y="4393"/>
                    <a:pt x="5727" y="4620"/>
                  </a:cubicBezTo>
                  <a:cubicBezTo>
                    <a:pt x="5215" y="5074"/>
                    <a:pt x="4629" y="5437"/>
                    <a:pt x="4012" y="5663"/>
                  </a:cubicBezTo>
                  <a:cubicBezTo>
                    <a:pt x="4087" y="4970"/>
                    <a:pt x="4479" y="4303"/>
                    <a:pt x="5092" y="3905"/>
                  </a:cubicBezTo>
                  <a:cubicBezTo>
                    <a:pt x="5231" y="3974"/>
                    <a:pt x="5336" y="4012"/>
                    <a:pt x="5454" y="3974"/>
                  </a:cubicBezTo>
                  <a:cubicBezTo>
                    <a:pt x="5643" y="3913"/>
                    <a:pt x="5741" y="3772"/>
                    <a:pt x="5866" y="3646"/>
                  </a:cubicBezTo>
                  <a:cubicBezTo>
                    <a:pt x="5691" y="3616"/>
                    <a:pt x="5529" y="3559"/>
                    <a:pt x="5340" y="3620"/>
                  </a:cubicBezTo>
                  <a:cubicBezTo>
                    <a:pt x="5230" y="3655"/>
                    <a:pt x="5168" y="3738"/>
                    <a:pt x="5102" y="3859"/>
                  </a:cubicBezTo>
                  <a:cubicBezTo>
                    <a:pt x="4381" y="4206"/>
                    <a:pt x="3835" y="4934"/>
                    <a:pt x="3701" y="5765"/>
                  </a:cubicBezTo>
                  <a:cubicBezTo>
                    <a:pt x="3326" y="5873"/>
                    <a:pt x="2942" y="5929"/>
                    <a:pt x="2559" y="5925"/>
                  </a:cubicBezTo>
                  <a:cubicBezTo>
                    <a:pt x="2624" y="5769"/>
                    <a:pt x="2697" y="5613"/>
                    <a:pt x="2782" y="5458"/>
                  </a:cubicBezTo>
                  <a:cubicBezTo>
                    <a:pt x="3092" y="4791"/>
                    <a:pt x="3474" y="4113"/>
                    <a:pt x="3695" y="3370"/>
                  </a:cubicBezTo>
                  <a:lnTo>
                    <a:pt x="3695" y="3370"/>
                  </a:lnTo>
                  <a:cubicBezTo>
                    <a:pt x="3695" y="3367"/>
                    <a:pt x="3696" y="3365"/>
                    <a:pt x="3697" y="3363"/>
                  </a:cubicBezTo>
                  <a:cubicBezTo>
                    <a:pt x="3709" y="3311"/>
                    <a:pt x="3722" y="3260"/>
                    <a:pt x="3738" y="3209"/>
                  </a:cubicBezTo>
                  <a:cubicBezTo>
                    <a:pt x="3942" y="2542"/>
                    <a:pt x="4453" y="1960"/>
                    <a:pt x="5131" y="1685"/>
                  </a:cubicBezTo>
                  <a:cubicBezTo>
                    <a:pt x="5254" y="1779"/>
                    <a:pt x="5350" y="1836"/>
                    <a:pt x="5473" y="1821"/>
                  </a:cubicBezTo>
                  <a:cubicBezTo>
                    <a:pt x="5670" y="1797"/>
                    <a:pt x="5793" y="1677"/>
                    <a:pt x="5939" y="1577"/>
                  </a:cubicBezTo>
                  <a:cubicBezTo>
                    <a:pt x="5773" y="1515"/>
                    <a:pt x="5625" y="1427"/>
                    <a:pt x="5428" y="1451"/>
                  </a:cubicBezTo>
                  <a:cubicBezTo>
                    <a:pt x="5313" y="1465"/>
                    <a:pt x="5237" y="1535"/>
                    <a:pt x="5149" y="1642"/>
                  </a:cubicBezTo>
                  <a:cubicBezTo>
                    <a:pt x="4653" y="1773"/>
                    <a:pt x="4198" y="2072"/>
                    <a:pt x="3859" y="2478"/>
                  </a:cubicBezTo>
                  <a:cubicBezTo>
                    <a:pt x="3878" y="2176"/>
                    <a:pt x="3859" y="1875"/>
                    <a:pt x="3804" y="1581"/>
                  </a:cubicBezTo>
                  <a:cubicBezTo>
                    <a:pt x="3925" y="1301"/>
                    <a:pt x="3984" y="1085"/>
                    <a:pt x="3897" y="850"/>
                  </a:cubicBezTo>
                  <a:cubicBezTo>
                    <a:pt x="3750" y="452"/>
                    <a:pt x="3440" y="255"/>
                    <a:pt x="3159" y="0"/>
                  </a:cubicBezTo>
                  <a:cubicBezTo>
                    <a:pt x="3112" y="376"/>
                    <a:pt x="3004" y="728"/>
                    <a:pt x="3151" y="1126"/>
                  </a:cubicBezTo>
                  <a:cubicBezTo>
                    <a:pt x="3235" y="1353"/>
                    <a:pt x="3411" y="1479"/>
                    <a:pt x="3670" y="1607"/>
                  </a:cubicBezTo>
                  <a:cubicBezTo>
                    <a:pt x="3702" y="2052"/>
                    <a:pt x="3657" y="2497"/>
                    <a:pt x="3516" y="2915"/>
                  </a:cubicBezTo>
                  <a:cubicBezTo>
                    <a:pt x="3335" y="3478"/>
                    <a:pt x="3031" y="3987"/>
                    <a:pt x="2709" y="4501"/>
                  </a:cubicBezTo>
                  <a:cubicBezTo>
                    <a:pt x="2419" y="4331"/>
                    <a:pt x="2159" y="4087"/>
                    <a:pt x="1936" y="3795"/>
                  </a:cubicBezTo>
                  <a:cubicBezTo>
                    <a:pt x="2324" y="3433"/>
                    <a:pt x="2546" y="2917"/>
                    <a:pt x="2548" y="2410"/>
                  </a:cubicBezTo>
                  <a:cubicBezTo>
                    <a:pt x="2660" y="2230"/>
                    <a:pt x="2725" y="2093"/>
                    <a:pt x="2688" y="1927"/>
                  </a:cubicBezTo>
                  <a:cubicBezTo>
                    <a:pt x="2630" y="1664"/>
                    <a:pt x="2452" y="1514"/>
                    <a:pt x="2297" y="1330"/>
                  </a:cubicBezTo>
                  <a:cubicBezTo>
                    <a:pt x="2235" y="1562"/>
                    <a:pt x="2137" y="1774"/>
                    <a:pt x="2195" y="2036"/>
                  </a:cubicBezTo>
                  <a:cubicBezTo>
                    <a:pt x="2230" y="2195"/>
                    <a:pt x="2341" y="2290"/>
                    <a:pt x="2506" y="2400"/>
                  </a:cubicBezTo>
                  <a:cubicBezTo>
                    <a:pt x="2451" y="2890"/>
                    <a:pt x="2189" y="3337"/>
                    <a:pt x="1811" y="3622"/>
                  </a:cubicBezTo>
                  <a:cubicBezTo>
                    <a:pt x="1514" y="3183"/>
                    <a:pt x="1294" y="2660"/>
                    <a:pt x="1173" y="2132"/>
                  </a:cubicBezTo>
                  <a:cubicBezTo>
                    <a:pt x="1366" y="1958"/>
                    <a:pt x="1488" y="1815"/>
                    <a:pt x="1502" y="1605"/>
                  </a:cubicBezTo>
                  <a:cubicBezTo>
                    <a:pt x="1524" y="1263"/>
                    <a:pt x="1359" y="1015"/>
                    <a:pt x="1236" y="734"/>
                  </a:cubicBezTo>
                  <a:cubicBezTo>
                    <a:pt x="1077" y="997"/>
                    <a:pt x="881" y="1221"/>
                    <a:pt x="859" y="1563"/>
                  </a:cubicBezTo>
                  <a:cubicBezTo>
                    <a:pt x="845" y="1776"/>
                    <a:pt x="951" y="1935"/>
                    <a:pt x="1123" y="2137"/>
                  </a:cubicBezTo>
                  <a:cubicBezTo>
                    <a:pt x="1212" y="2904"/>
                    <a:pt x="1461" y="3676"/>
                    <a:pt x="1977" y="4305"/>
                  </a:cubicBezTo>
                  <a:cubicBezTo>
                    <a:pt x="1559" y="4465"/>
                    <a:pt x="1077" y="4483"/>
                    <a:pt x="629" y="4339"/>
                  </a:cubicBezTo>
                  <a:cubicBezTo>
                    <a:pt x="603" y="4215"/>
                    <a:pt x="572" y="4128"/>
                    <a:pt x="487" y="4071"/>
                  </a:cubicBezTo>
                  <a:cubicBezTo>
                    <a:pt x="348" y="3977"/>
                    <a:pt x="203" y="3986"/>
                    <a:pt x="54" y="3969"/>
                  </a:cubicBezTo>
                  <a:cubicBezTo>
                    <a:pt x="126" y="4101"/>
                    <a:pt x="173" y="4238"/>
                    <a:pt x="312" y="4332"/>
                  </a:cubicBezTo>
                  <a:cubicBezTo>
                    <a:pt x="392" y="4386"/>
                    <a:pt x="479" y="4384"/>
                    <a:pt x="593" y="4365"/>
                  </a:cubicBezTo>
                  <a:cubicBezTo>
                    <a:pt x="1059" y="4598"/>
                    <a:pt x="1626" y="4656"/>
                    <a:pt x="2156" y="4505"/>
                  </a:cubicBezTo>
                  <a:cubicBezTo>
                    <a:pt x="2263" y="4615"/>
                    <a:pt x="2380" y="4720"/>
                    <a:pt x="2508" y="4819"/>
                  </a:cubicBezTo>
                  <a:cubicBezTo>
                    <a:pt x="2431" y="4941"/>
                    <a:pt x="2354" y="5064"/>
                    <a:pt x="2279" y="5188"/>
                  </a:cubicBezTo>
                  <a:cubicBezTo>
                    <a:pt x="1812" y="5939"/>
                    <a:pt x="1393" y="6833"/>
                    <a:pt x="1364" y="7823"/>
                  </a:cubicBezTo>
                  <a:cubicBezTo>
                    <a:pt x="1336" y="8470"/>
                    <a:pt x="1466" y="9098"/>
                    <a:pt x="1674" y="9690"/>
                  </a:cubicBezTo>
                  <a:lnTo>
                    <a:pt x="2833" y="9690"/>
                  </a:lnTo>
                  <a:cubicBezTo>
                    <a:pt x="2266" y="8735"/>
                    <a:pt x="2081" y="7660"/>
                    <a:pt x="2340" y="6589"/>
                  </a:cubicBezTo>
                  <a:cubicBezTo>
                    <a:pt x="3295" y="6507"/>
                    <a:pt x="4155" y="6116"/>
                    <a:pt x="4868" y="5559"/>
                  </a:cubicBezTo>
                  <a:cubicBezTo>
                    <a:pt x="5386" y="5782"/>
                    <a:pt x="5982" y="5759"/>
                    <a:pt x="6464" y="5522"/>
                  </a:cubicBezTo>
                  <a:close/>
                  <a:moveTo>
                    <a:pt x="2708" y="3114"/>
                  </a:moveTo>
                  <a:cubicBezTo>
                    <a:pt x="2580" y="3135"/>
                    <a:pt x="2503" y="3221"/>
                    <a:pt x="2406" y="3354"/>
                  </a:cubicBezTo>
                  <a:cubicBezTo>
                    <a:pt x="2541" y="3450"/>
                    <a:pt x="2641" y="3506"/>
                    <a:pt x="2769" y="3486"/>
                  </a:cubicBezTo>
                  <a:cubicBezTo>
                    <a:pt x="2967" y="3453"/>
                    <a:pt x="3086" y="3326"/>
                    <a:pt x="3230" y="3219"/>
                  </a:cubicBezTo>
                  <a:cubicBezTo>
                    <a:pt x="3059" y="3164"/>
                    <a:pt x="2906" y="3082"/>
                    <a:pt x="2708" y="3114"/>
                  </a:cubicBezTo>
                  <a:close/>
                  <a:moveTo>
                    <a:pt x="2813" y="2276"/>
                  </a:moveTo>
                  <a:cubicBezTo>
                    <a:pt x="2711" y="2355"/>
                    <a:pt x="2684" y="2467"/>
                    <a:pt x="2662" y="2630"/>
                  </a:cubicBezTo>
                  <a:cubicBezTo>
                    <a:pt x="2825" y="2650"/>
                    <a:pt x="2941" y="2652"/>
                    <a:pt x="3043" y="2573"/>
                  </a:cubicBezTo>
                  <a:cubicBezTo>
                    <a:pt x="3202" y="2450"/>
                    <a:pt x="3247" y="2282"/>
                    <a:pt x="3322" y="2120"/>
                  </a:cubicBezTo>
                  <a:cubicBezTo>
                    <a:pt x="3146" y="2152"/>
                    <a:pt x="2972" y="2153"/>
                    <a:pt x="2813" y="2276"/>
                  </a:cubicBezTo>
                  <a:close/>
                  <a:moveTo>
                    <a:pt x="2314" y="2889"/>
                  </a:moveTo>
                  <a:cubicBezTo>
                    <a:pt x="2354" y="2730"/>
                    <a:pt x="2371" y="2615"/>
                    <a:pt x="2306" y="2504"/>
                  </a:cubicBezTo>
                  <a:cubicBezTo>
                    <a:pt x="2204" y="2331"/>
                    <a:pt x="2043" y="2265"/>
                    <a:pt x="1891" y="2170"/>
                  </a:cubicBezTo>
                  <a:cubicBezTo>
                    <a:pt x="1901" y="2349"/>
                    <a:pt x="1879" y="2522"/>
                    <a:pt x="1981" y="2694"/>
                  </a:cubicBezTo>
                  <a:cubicBezTo>
                    <a:pt x="2047" y="2806"/>
                    <a:pt x="2155" y="2847"/>
                    <a:pt x="2314" y="2889"/>
                  </a:cubicBezTo>
                  <a:close/>
                  <a:moveTo>
                    <a:pt x="230" y="1933"/>
                  </a:moveTo>
                  <a:cubicBezTo>
                    <a:pt x="302" y="2165"/>
                    <a:pt x="331" y="2398"/>
                    <a:pt x="522" y="2591"/>
                  </a:cubicBezTo>
                  <a:cubicBezTo>
                    <a:pt x="645" y="2715"/>
                    <a:pt x="801" y="2733"/>
                    <a:pt x="1024" y="2736"/>
                  </a:cubicBezTo>
                  <a:cubicBezTo>
                    <a:pt x="1024" y="2513"/>
                    <a:pt x="1007" y="2357"/>
                    <a:pt x="884" y="2233"/>
                  </a:cubicBezTo>
                  <a:cubicBezTo>
                    <a:pt x="694" y="2040"/>
                    <a:pt x="460" y="2007"/>
                    <a:pt x="230" y="1933"/>
                  </a:cubicBezTo>
                  <a:close/>
                  <a:moveTo>
                    <a:pt x="184" y="10403"/>
                  </a:moveTo>
                  <a:lnTo>
                    <a:pt x="4472" y="10403"/>
                  </a:lnTo>
                  <a:lnTo>
                    <a:pt x="4472" y="9980"/>
                  </a:lnTo>
                  <a:lnTo>
                    <a:pt x="184" y="9980"/>
                  </a:lnTo>
                  <a:lnTo>
                    <a:pt x="184" y="10403"/>
                  </a:lnTo>
                  <a:close/>
                </a:path>
              </a:pathLst>
            </a:custGeom>
            <a:solidFill>
              <a:srgbClr val="FFE9CA"/>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21" name="Oval 20">
              <a:extLst>
                <a:ext uri="{FF2B5EF4-FFF2-40B4-BE49-F238E27FC236}">
                  <a16:creationId xmlns:a16="http://schemas.microsoft.com/office/drawing/2014/main" id="{683974AF-1A7A-3203-9C90-F83087B5685D}"/>
                </a:ext>
              </a:extLst>
            </p:cNvPr>
            <p:cNvSpPr>
              <a:spLocks noChangeAspect="1"/>
            </p:cNvSpPr>
            <p:nvPr/>
          </p:nvSpPr>
          <p:spPr>
            <a:xfrm>
              <a:off x="6918956" y="2205389"/>
              <a:ext cx="624548" cy="624548"/>
            </a:xfrm>
            <a:prstGeom prst="ellipse">
              <a:avLst/>
            </a:prstGeom>
            <a:solidFill>
              <a:schemeClr val="bg1"/>
            </a:solidFill>
            <a:ln w="38100">
              <a:solidFill>
                <a:srgbClr val="FFD3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algn="ctr"/>
              <a:r>
                <a:rPr lang="nb-NO" sz="2456" b="1">
                  <a:solidFill>
                    <a:schemeClr val="accent1"/>
                  </a:solidFill>
                </a:rPr>
                <a:t>3</a:t>
              </a:r>
            </a:p>
          </p:txBody>
        </p:sp>
      </p:grpSp>
      <p:sp>
        <p:nvSpPr>
          <p:cNvPr id="23" name="Rounded Rectangle 9">
            <a:extLst>
              <a:ext uri="{FF2B5EF4-FFF2-40B4-BE49-F238E27FC236}">
                <a16:creationId xmlns:a16="http://schemas.microsoft.com/office/drawing/2014/main" id="{4711EF97-05FE-E26A-E3AD-F771623DED3E}"/>
              </a:ext>
            </a:extLst>
          </p:cNvPr>
          <p:cNvSpPr>
            <a:spLocks/>
          </p:cNvSpPr>
          <p:nvPr/>
        </p:nvSpPr>
        <p:spPr>
          <a:xfrm>
            <a:off x="8511009" y="3030747"/>
            <a:ext cx="2005541" cy="2253506"/>
          </a:xfrm>
          <a:prstGeom prst="roundRect">
            <a:avLst>
              <a:gd name="adj" fmla="val 13052"/>
            </a:avLst>
          </a:prstGeom>
          <a:noFill/>
          <a:ln w="12700">
            <a:solidFill>
              <a:srgbClr val="EFE6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5" tIns="252600" rIns="31575" bIns="40100" numCol="1" spcCol="0" rtlCol="0" fromWordArt="0" anchor="t" anchorCtr="0" forceAA="0" compatLnSpc="1">
            <a:prstTxWarp prst="textNoShape">
              <a:avLst/>
            </a:prstTxWarp>
            <a:noAutofit/>
          </a:bodyPr>
          <a:lstStyle/>
          <a:p>
            <a:pPr algn="ctr"/>
            <a:r>
              <a:rPr lang="nb-NO" sz="965" b="1" dirty="0">
                <a:solidFill>
                  <a:schemeClr val="tx1"/>
                </a:solidFill>
              </a:rPr>
              <a:t>Læring</a:t>
            </a:r>
          </a:p>
          <a:p>
            <a:pPr algn="ctr"/>
            <a:endParaRPr lang="nb-NO" sz="965" b="1" dirty="0">
              <a:solidFill>
                <a:schemeClr val="tx1"/>
              </a:solidFill>
            </a:endParaRPr>
          </a:p>
          <a:p>
            <a:pPr marL="250631" indent="-250631">
              <a:buFont typeface="Arial" panose="020B0604020202020204" pitchFamily="34" charset="0"/>
              <a:buChar char="•"/>
            </a:pPr>
            <a:r>
              <a:rPr lang="nb-NO" sz="965" dirty="0">
                <a:solidFill>
                  <a:schemeClr val="tx1"/>
                </a:solidFill>
              </a:rPr>
              <a:t>Frysperiode</a:t>
            </a:r>
          </a:p>
          <a:p>
            <a:pPr marL="250631" indent="-250631">
              <a:buFont typeface="Arial" panose="020B0604020202020204" pitchFamily="34" charset="0"/>
              <a:buChar char="•"/>
            </a:pPr>
            <a:r>
              <a:rPr lang="nb-NO" sz="965" dirty="0">
                <a:solidFill>
                  <a:schemeClr val="tx1"/>
                </a:solidFill>
              </a:rPr>
              <a:t>Tilbakemeldinger</a:t>
            </a:r>
          </a:p>
          <a:p>
            <a:pPr marL="250631" indent="-250631">
              <a:buFont typeface="Arial" panose="020B0604020202020204" pitchFamily="34" charset="0"/>
              <a:buChar char="•"/>
            </a:pPr>
            <a:r>
              <a:rPr lang="nb-NO" sz="965" dirty="0">
                <a:solidFill>
                  <a:schemeClr val="tx1"/>
                </a:solidFill>
              </a:rPr>
              <a:t>Evaluering</a:t>
            </a:r>
          </a:p>
          <a:p>
            <a:pPr marL="250631" indent="-250631">
              <a:buFont typeface="Arial" panose="020B0604020202020204" pitchFamily="34" charset="0"/>
              <a:buChar char="•"/>
            </a:pPr>
            <a:r>
              <a:rPr lang="nb-NO" sz="965" dirty="0">
                <a:solidFill>
                  <a:schemeClr val="tx1"/>
                </a:solidFill>
              </a:rPr>
              <a:t>Statusrapport</a:t>
            </a:r>
          </a:p>
          <a:p>
            <a:pPr marL="250631" indent="-250631">
              <a:buFont typeface="Arial" panose="020B0604020202020204" pitchFamily="34" charset="0"/>
              <a:buChar char="•"/>
            </a:pPr>
            <a:r>
              <a:rPr lang="nb-NO" sz="965" dirty="0">
                <a:solidFill>
                  <a:schemeClr val="tx1"/>
                </a:solidFill>
              </a:rPr>
              <a:t>Justere</a:t>
            </a:r>
          </a:p>
        </p:txBody>
      </p:sp>
      <p:grpSp>
        <p:nvGrpSpPr>
          <p:cNvPr id="24" name="Group 23">
            <a:extLst>
              <a:ext uri="{FF2B5EF4-FFF2-40B4-BE49-F238E27FC236}">
                <a16:creationId xmlns:a16="http://schemas.microsoft.com/office/drawing/2014/main" id="{3028A825-627A-2D7B-D091-148860ED3CBA}"/>
              </a:ext>
            </a:extLst>
          </p:cNvPr>
          <p:cNvGrpSpPr/>
          <p:nvPr/>
        </p:nvGrpSpPr>
        <p:grpSpPr>
          <a:xfrm>
            <a:off x="9069611" y="1407752"/>
            <a:ext cx="891703" cy="1834020"/>
            <a:chOff x="9621116" y="725928"/>
            <a:chExt cx="1016669" cy="2091044"/>
          </a:xfrm>
        </p:grpSpPr>
        <p:sp>
          <p:nvSpPr>
            <p:cNvPr id="25" name="Tree19" descr="{&quot;Key&quot;:&quot;POWER_USER_SHAPE_ICON&quot;,&quot;Value&quot;:&quot;POWER_USER_SHAPE_ICON_STYLE_1&quot;}">
              <a:extLst>
                <a:ext uri="{FF2B5EF4-FFF2-40B4-BE49-F238E27FC236}">
                  <a16:creationId xmlns:a16="http://schemas.microsoft.com/office/drawing/2014/main" id="{AB84F7B0-5E86-7292-84A1-BB730E9DABAF}"/>
                </a:ext>
              </a:extLst>
            </p:cNvPr>
            <p:cNvSpPr>
              <a:spLocks noEditPoints="1"/>
            </p:cNvSpPr>
            <p:nvPr>
              <p:custDataLst>
                <p:tags r:id="rId3"/>
              </p:custDataLst>
            </p:nvPr>
          </p:nvSpPr>
          <p:spPr bwMode="auto">
            <a:xfrm>
              <a:off x="10174161" y="1242875"/>
              <a:ext cx="463624" cy="624549"/>
            </a:xfrm>
            <a:custGeom>
              <a:avLst/>
              <a:gdLst>
                <a:gd name="T0" fmla="*/ 6068 w 9216"/>
                <a:gd name="T1" fmla="*/ 3907 h 13103"/>
                <a:gd name="T2" fmla="*/ 7688 w 9216"/>
                <a:gd name="T3" fmla="*/ 6427 h 13103"/>
                <a:gd name="T4" fmla="*/ 8642 w 9216"/>
                <a:gd name="T5" fmla="*/ 6307 h 13103"/>
                <a:gd name="T6" fmla="*/ 7814 w 9216"/>
                <a:gd name="T7" fmla="*/ 5140 h 13103"/>
                <a:gd name="T8" fmla="*/ 8239 w 9216"/>
                <a:gd name="T9" fmla="*/ 5979 h 13103"/>
                <a:gd name="T10" fmla="*/ 7370 w 9216"/>
                <a:gd name="T11" fmla="*/ 5038 h 13103"/>
                <a:gd name="T12" fmla="*/ 6456 w 9216"/>
                <a:gd name="T13" fmla="*/ 4621 h 13103"/>
                <a:gd name="T14" fmla="*/ 6222 w 9216"/>
                <a:gd name="T15" fmla="*/ 1584 h 13103"/>
                <a:gd name="T16" fmla="*/ 17 w 9216"/>
                <a:gd name="T17" fmla="*/ 3926 h 13103"/>
                <a:gd name="T18" fmla="*/ 1092 w 9216"/>
                <a:gd name="T19" fmla="*/ 3638 h 13103"/>
                <a:gd name="T20" fmla="*/ 5304 w 9216"/>
                <a:gd name="T21" fmla="*/ 4893 h 13103"/>
                <a:gd name="T22" fmla="*/ 5516 w 9216"/>
                <a:gd name="T23" fmla="*/ 4686 h 13103"/>
                <a:gd name="T24" fmla="*/ 3002 w 9216"/>
                <a:gd name="T25" fmla="*/ 4310 h 13103"/>
                <a:gd name="T26" fmla="*/ 3157 w 9216"/>
                <a:gd name="T27" fmla="*/ 4532 h 13103"/>
                <a:gd name="T28" fmla="*/ 870 w 9216"/>
                <a:gd name="T29" fmla="*/ 2307 h 13103"/>
                <a:gd name="T30" fmla="*/ 1530 w 9216"/>
                <a:gd name="T31" fmla="*/ 1926 h 13103"/>
                <a:gd name="T32" fmla="*/ 2105 w 9216"/>
                <a:gd name="T33" fmla="*/ 4941 h 13103"/>
                <a:gd name="T34" fmla="*/ 2102 w 9216"/>
                <a:gd name="T35" fmla="*/ 5211 h 13103"/>
                <a:gd name="T36" fmla="*/ 6124 w 9216"/>
                <a:gd name="T37" fmla="*/ 7339 h 13103"/>
                <a:gd name="T38" fmla="*/ 6282 w 9216"/>
                <a:gd name="T39" fmla="*/ 6783 h 13103"/>
                <a:gd name="T40" fmla="*/ 513 w 9216"/>
                <a:gd name="T41" fmla="*/ 5584 h 13103"/>
                <a:gd name="T42" fmla="*/ 860 w 9216"/>
                <a:gd name="T43" fmla="*/ 5294 h 13103"/>
                <a:gd name="T44" fmla="*/ 1806 w 9216"/>
                <a:gd name="T45" fmla="*/ 6620 h 13103"/>
                <a:gd name="T46" fmla="*/ 1744 w 9216"/>
                <a:gd name="T47" fmla="*/ 6133 h 13103"/>
                <a:gd name="T48" fmla="*/ 6985 w 9216"/>
                <a:gd name="T49" fmla="*/ 1501 h 13103"/>
                <a:gd name="T50" fmla="*/ 5308 w 9216"/>
                <a:gd name="T51" fmla="*/ 1274 h 13103"/>
                <a:gd name="T52" fmla="*/ 7210 w 9216"/>
                <a:gd name="T53" fmla="*/ 2360 h 13103"/>
                <a:gd name="T54" fmla="*/ 8407 w 9216"/>
                <a:gd name="T55" fmla="*/ 6122 h 13103"/>
                <a:gd name="T56" fmla="*/ 7894 w 9216"/>
                <a:gd name="T57" fmla="*/ 4273 h 13103"/>
                <a:gd name="T58" fmla="*/ 7346 w 9216"/>
                <a:gd name="T59" fmla="*/ 3842 h 13103"/>
                <a:gd name="T60" fmla="*/ 5535 w 9216"/>
                <a:gd name="T61" fmla="*/ 4292 h 13103"/>
                <a:gd name="T62" fmla="*/ 5542 w 9216"/>
                <a:gd name="T63" fmla="*/ 6368 h 13103"/>
                <a:gd name="T64" fmla="*/ 7294 w 9216"/>
                <a:gd name="T65" fmla="*/ 2030 h 13103"/>
                <a:gd name="T66" fmla="*/ 4650 w 9216"/>
                <a:gd name="T67" fmla="*/ 1111 h 13103"/>
                <a:gd name="T68" fmla="*/ 3712 w 9216"/>
                <a:gd name="T69" fmla="*/ 5439 h 13103"/>
                <a:gd name="T70" fmla="*/ 3394 w 9216"/>
                <a:gd name="T71" fmla="*/ 3748 h 13103"/>
                <a:gd name="T72" fmla="*/ 3335 w 9216"/>
                <a:gd name="T73" fmla="*/ 2183 h 13103"/>
                <a:gd name="T74" fmla="*/ 2003 w 9216"/>
                <a:gd name="T75" fmla="*/ 1763 h 13103"/>
                <a:gd name="T76" fmla="*/ 1765 w 9216"/>
                <a:gd name="T77" fmla="*/ 2579 h 13103"/>
                <a:gd name="T78" fmla="*/ 1061 w 9216"/>
                <a:gd name="T79" fmla="*/ 1857 h 13103"/>
                <a:gd name="T80" fmla="*/ 364 w 9216"/>
                <a:gd name="T81" fmla="*/ 3088 h 13103"/>
                <a:gd name="T82" fmla="*/ 2607 w 9216"/>
                <a:gd name="T83" fmla="*/ 5456 h 13103"/>
                <a:gd name="T84" fmla="*/ 1671 w 9216"/>
                <a:gd name="T85" fmla="*/ 4904 h 13103"/>
                <a:gd name="T86" fmla="*/ 260 w 9216"/>
                <a:gd name="T87" fmla="*/ 5372 h 13103"/>
                <a:gd name="T88" fmla="*/ 817 w 9216"/>
                <a:gd name="T89" fmla="*/ 6638 h 13103"/>
                <a:gd name="T90" fmla="*/ 3472 w 9216"/>
                <a:gd name="T91" fmla="*/ 5891 h 13103"/>
                <a:gd name="T92" fmla="*/ 3464 w 9216"/>
                <a:gd name="T93" fmla="*/ 7398 h 13103"/>
                <a:gd name="T94" fmla="*/ 6872 w 9216"/>
                <a:gd name="T95" fmla="*/ 7105 h 13103"/>
                <a:gd name="T96" fmla="*/ 3454 w 9216"/>
                <a:gd name="T97" fmla="*/ 2993 h 13103"/>
                <a:gd name="T98" fmla="*/ 3057 w 9216"/>
                <a:gd name="T99" fmla="*/ 2739 h 13103"/>
                <a:gd name="T100" fmla="*/ 2728 w 9216"/>
                <a:gd name="T101" fmla="*/ 2825 h 13103"/>
                <a:gd name="T102" fmla="*/ 4622 w 9216"/>
                <a:gd name="T103" fmla="*/ 1869 h 13103"/>
                <a:gd name="T104" fmla="*/ 1038 w 9216"/>
                <a:gd name="T105" fmla="*/ 13103 h 13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16" h="13103">
                  <a:moveTo>
                    <a:pt x="6068" y="3907"/>
                  </a:moveTo>
                  <a:cubicBezTo>
                    <a:pt x="6042" y="4076"/>
                    <a:pt x="6117" y="4209"/>
                    <a:pt x="6243" y="4385"/>
                  </a:cubicBezTo>
                  <a:cubicBezTo>
                    <a:pt x="6418" y="4257"/>
                    <a:pt x="6531" y="4154"/>
                    <a:pt x="6558" y="3986"/>
                  </a:cubicBezTo>
                  <a:cubicBezTo>
                    <a:pt x="6599" y="3725"/>
                    <a:pt x="6491" y="3523"/>
                    <a:pt x="6416" y="3299"/>
                  </a:cubicBezTo>
                  <a:cubicBezTo>
                    <a:pt x="6276" y="3489"/>
                    <a:pt x="6110" y="3647"/>
                    <a:pt x="6068" y="3907"/>
                  </a:cubicBezTo>
                  <a:close/>
                  <a:moveTo>
                    <a:pt x="7688" y="6427"/>
                  </a:moveTo>
                  <a:cubicBezTo>
                    <a:pt x="7686" y="6581"/>
                    <a:pt x="7696" y="6688"/>
                    <a:pt x="7779" y="6775"/>
                  </a:cubicBezTo>
                  <a:cubicBezTo>
                    <a:pt x="7909" y="6911"/>
                    <a:pt x="8070" y="6936"/>
                    <a:pt x="8228" y="6989"/>
                  </a:cubicBezTo>
                  <a:cubicBezTo>
                    <a:pt x="8181" y="6829"/>
                    <a:pt x="8163" y="6667"/>
                    <a:pt x="8033" y="6531"/>
                  </a:cubicBezTo>
                  <a:cubicBezTo>
                    <a:pt x="7949" y="6445"/>
                    <a:pt x="7842" y="6431"/>
                    <a:pt x="7688" y="6427"/>
                  </a:cubicBezTo>
                  <a:close/>
                  <a:moveTo>
                    <a:pt x="8642" y="6307"/>
                  </a:moveTo>
                  <a:cubicBezTo>
                    <a:pt x="8534" y="6255"/>
                    <a:pt x="8428" y="6280"/>
                    <a:pt x="8283" y="6330"/>
                  </a:cubicBezTo>
                  <a:cubicBezTo>
                    <a:pt x="8335" y="6475"/>
                    <a:pt x="8382" y="6572"/>
                    <a:pt x="8491" y="6625"/>
                  </a:cubicBezTo>
                  <a:cubicBezTo>
                    <a:pt x="8660" y="6705"/>
                    <a:pt x="8819" y="6672"/>
                    <a:pt x="8986" y="6666"/>
                  </a:cubicBezTo>
                  <a:cubicBezTo>
                    <a:pt x="8886" y="6533"/>
                    <a:pt x="8812" y="6388"/>
                    <a:pt x="8642" y="6307"/>
                  </a:cubicBezTo>
                  <a:close/>
                  <a:moveTo>
                    <a:pt x="7814" y="5140"/>
                  </a:moveTo>
                  <a:cubicBezTo>
                    <a:pt x="7687" y="5160"/>
                    <a:pt x="7610" y="5246"/>
                    <a:pt x="7513" y="5378"/>
                  </a:cubicBezTo>
                  <a:cubicBezTo>
                    <a:pt x="7647" y="5473"/>
                    <a:pt x="7747" y="5530"/>
                    <a:pt x="7874" y="5509"/>
                  </a:cubicBezTo>
                  <a:cubicBezTo>
                    <a:pt x="8071" y="5477"/>
                    <a:pt x="8190" y="5352"/>
                    <a:pt x="8332" y="5245"/>
                  </a:cubicBezTo>
                  <a:cubicBezTo>
                    <a:pt x="8163" y="5189"/>
                    <a:pt x="8011" y="5107"/>
                    <a:pt x="7814" y="5140"/>
                  </a:cubicBezTo>
                  <a:close/>
                  <a:moveTo>
                    <a:pt x="8239" y="5979"/>
                  </a:moveTo>
                  <a:cubicBezTo>
                    <a:pt x="8341" y="5821"/>
                    <a:pt x="8328" y="5659"/>
                    <a:pt x="8344" y="5492"/>
                  </a:cubicBezTo>
                  <a:cubicBezTo>
                    <a:pt x="8198" y="5575"/>
                    <a:pt x="8045" y="5630"/>
                    <a:pt x="7943" y="5788"/>
                  </a:cubicBezTo>
                  <a:cubicBezTo>
                    <a:pt x="7877" y="5889"/>
                    <a:pt x="7889" y="5997"/>
                    <a:pt x="7920" y="6147"/>
                  </a:cubicBezTo>
                  <a:cubicBezTo>
                    <a:pt x="8071" y="6114"/>
                    <a:pt x="8173" y="6080"/>
                    <a:pt x="8239" y="5979"/>
                  </a:cubicBezTo>
                  <a:close/>
                  <a:moveTo>
                    <a:pt x="7370" y="5038"/>
                  </a:moveTo>
                  <a:cubicBezTo>
                    <a:pt x="7524" y="4926"/>
                    <a:pt x="7623" y="4836"/>
                    <a:pt x="7647" y="4688"/>
                  </a:cubicBezTo>
                  <a:cubicBezTo>
                    <a:pt x="7685" y="4459"/>
                    <a:pt x="7590" y="4281"/>
                    <a:pt x="7525" y="4085"/>
                  </a:cubicBezTo>
                  <a:cubicBezTo>
                    <a:pt x="7401" y="4251"/>
                    <a:pt x="7255" y="4389"/>
                    <a:pt x="7217" y="4618"/>
                  </a:cubicBezTo>
                  <a:cubicBezTo>
                    <a:pt x="7193" y="4766"/>
                    <a:pt x="7259" y="4883"/>
                    <a:pt x="7370" y="5038"/>
                  </a:cubicBezTo>
                  <a:close/>
                  <a:moveTo>
                    <a:pt x="6456" y="4621"/>
                  </a:moveTo>
                  <a:cubicBezTo>
                    <a:pt x="6338" y="4663"/>
                    <a:pt x="6279" y="4759"/>
                    <a:pt x="6210" y="4903"/>
                  </a:cubicBezTo>
                  <a:cubicBezTo>
                    <a:pt x="6355" y="4971"/>
                    <a:pt x="6461" y="5007"/>
                    <a:pt x="6579" y="4965"/>
                  </a:cubicBezTo>
                  <a:cubicBezTo>
                    <a:pt x="6762" y="4899"/>
                    <a:pt x="6854" y="4758"/>
                    <a:pt x="6972" y="4630"/>
                  </a:cubicBezTo>
                  <a:cubicBezTo>
                    <a:pt x="6800" y="4606"/>
                    <a:pt x="6639" y="4555"/>
                    <a:pt x="6456" y="4621"/>
                  </a:cubicBezTo>
                  <a:close/>
                  <a:moveTo>
                    <a:pt x="6222" y="1584"/>
                  </a:moveTo>
                  <a:cubicBezTo>
                    <a:pt x="6245" y="1362"/>
                    <a:pt x="6143" y="1197"/>
                    <a:pt x="6069" y="1012"/>
                  </a:cubicBezTo>
                  <a:cubicBezTo>
                    <a:pt x="5960" y="1178"/>
                    <a:pt x="5828" y="1320"/>
                    <a:pt x="5805" y="1542"/>
                  </a:cubicBezTo>
                  <a:cubicBezTo>
                    <a:pt x="5790" y="1685"/>
                    <a:pt x="5860" y="1793"/>
                    <a:pt x="5976" y="1937"/>
                  </a:cubicBezTo>
                  <a:cubicBezTo>
                    <a:pt x="6117" y="1820"/>
                    <a:pt x="6207" y="1728"/>
                    <a:pt x="6222" y="1584"/>
                  </a:cubicBezTo>
                  <a:close/>
                  <a:moveTo>
                    <a:pt x="17" y="3926"/>
                  </a:moveTo>
                  <a:cubicBezTo>
                    <a:pt x="189" y="4015"/>
                    <a:pt x="339" y="4128"/>
                    <a:pt x="555" y="4127"/>
                  </a:cubicBezTo>
                  <a:cubicBezTo>
                    <a:pt x="694" y="4126"/>
                    <a:pt x="791" y="4048"/>
                    <a:pt x="916" y="3922"/>
                  </a:cubicBezTo>
                  <a:cubicBezTo>
                    <a:pt x="790" y="3798"/>
                    <a:pt x="692" y="3721"/>
                    <a:pt x="552" y="3721"/>
                  </a:cubicBezTo>
                  <a:cubicBezTo>
                    <a:pt x="336" y="3722"/>
                    <a:pt x="188" y="3837"/>
                    <a:pt x="17" y="3926"/>
                  </a:cubicBezTo>
                  <a:close/>
                  <a:moveTo>
                    <a:pt x="1092" y="3638"/>
                  </a:moveTo>
                  <a:cubicBezTo>
                    <a:pt x="1118" y="3726"/>
                    <a:pt x="1187" y="3773"/>
                    <a:pt x="1290" y="3829"/>
                  </a:cubicBezTo>
                  <a:cubicBezTo>
                    <a:pt x="1345" y="3725"/>
                    <a:pt x="1375" y="3648"/>
                    <a:pt x="1348" y="3559"/>
                  </a:cubicBezTo>
                  <a:cubicBezTo>
                    <a:pt x="1307" y="3423"/>
                    <a:pt x="1206" y="3350"/>
                    <a:pt x="1117" y="3259"/>
                  </a:cubicBezTo>
                  <a:cubicBezTo>
                    <a:pt x="1093" y="3384"/>
                    <a:pt x="1050" y="3501"/>
                    <a:pt x="1092" y="3638"/>
                  </a:cubicBezTo>
                  <a:close/>
                  <a:moveTo>
                    <a:pt x="5304" y="4893"/>
                  </a:moveTo>
                  <a:cubicBezTo>
                    <a:pt x="5303" y="4792"/>
                    <a:pt x="5294" y="4721"/>
                    <a:pt x="5238" y="4665"/>
                  </a:cubicBezTo>
                  <a:cubicBezTo>
                    <a:pt x="5150" y="4578"/>
                    <a:pt x="5043" y="4565"/>
                    <a:pt x="4938" y="4532"/>
                  </a:cubicBezTo>
                  <a:cubicBezTo>
                    <a:pt x="4972" y="4637"/>
                    <a:pt x="4987" y="4744"/>
                    <a:pt x="5075" y="4830"/>
                  </a:cubicBezTo>
                  <a:cubicBezTo>
                    <a:pt x="5132" y="4886"/>
                    <a:pt x="5203" y="4893"/>
                    <a:pt x="5304" y="4893"/>
                  </a:cubicBezTo>
                  <a:close/>
                  <a:moveTo>
                    <a:pt x="5516" y="4686"/>
                  </a:moveTo>
                  <a:cubicBezTo>
                    <a:pt x="5479" y="4773"/>
                    <a:pt x="5502" y="4854"/>
                    <a:pt x="5546" y="4965"/>
                  </a:cubicBezTo>
                  <a:cubicBezTo>
                    <a:pt x="5658" y="4920"/>
                    <a:pt x="5732" y="4880"/>
                    <a:pt x="5768" y="4792"/>
                  </a:cubicBezTo>
                  <a:cubicBezTo>
                    <a:pt x="5825" y="4658"/>
                    <a:pt x="5794" y="4536"/>
                    <a:pt x="5783" y="4405"/>
                  </a:cubicBezTo>
                  <a:cubicBezTo>
                    <a:pt x="5683" y="4488"/>
                    <a:pt x="5572" y="4552"/>
                    <a:pt x="5516" y="4686"/>
                  </a:cubicBezTo>
                  <a:close/>
                  <a:moveTo>
                    <a:pt x="3002" y="4310"/>
                  </a:moveTo>
                  <a:cubicBezTo>
                    <a:pt x="3069" y="4224"/>
                    <a:pt x="3109" y="4159"/>
                    <a:pt x="3098" y="4074"/>
                  </a:cubicBezTo>
                  <a:cubicBezTo>
                    <a:pt x="3082" y="3943"/>
                    <a:pt x="3002" y="3861"/>
                    <a:pt x="2936" y="3764"/>
                  </a:cubicBezTo>
                  <a:cubicBezTo>
                    <a:pt x="2894" y="3875"/>
                    <a:pt x="2837" y="3973"/>
                    <a:pt x="2852" y="4104"/>
                  </a:cubicBezTo>
                  <a:cubicBezTo>
                    <a:pt x="2863" y="4189"/>
                    <a:pt x="2918" y="4243"/>
                    <a:pt x="3002" y="4310"/>
                  </a:cubicBezTo>
                  <a:close/>
                  <a:moveTo>
                    <a:pt x="3157" y="4532"/>
                  </a:moveTo>
                  <a:cubicBezTo>
                    <a:pt x="3280" y="4567"/>
                    <a:pt x="3369" y="4583"/>
                    <a:pt x="3458" y="4535"/>
                  </a:cubicBezTo>
                  <a:cubicBezTo>
                    <a:pt x="3595" y="4460"/>
                    <a:pt x="3650" y="4336"/>
                    <a:pt x="3727" y="4220"/>
                  </a:cubicBezTo>
                  <a:cubicBezTo>
                    <a:pt x="3588" y="4223"/>
                    <a:pt x="3454" y="4202"/>
                    <a:pt x="3317" y="4277"/>
                  </a:cubicBezTo>
                  <a:cubicBezTo>
                    <a:pt x="3229" y="4326"/>
                    <a:pt x="3194" y="4409"/>
                    <a:pt x="3157" y="4532"/>
                  </a:cubicBezTo>
                  <a:close/>
                  <a:moveTo>
                    <a:pt x="870" y="2307"/>
                  </a:moveTo>
                  <a:cubicBezTo>
                    <a:pt x="961" y="2341"/>
                    <a:pt x="1043" y="2314"/>
                    <a:pt x="1155" y="2264"/>
                  </a:cubicBezTo>
                  <a:cubicBezTo>
                    <a:pt x="1104" y="2152"/>
                    <a:pt x="1059" y="2077"/>
                    <a:pt x="969" y="2043"/>
                  </a:cubicBezTo>
                  <a:cubicBezTo>
                    <a:pt x="829" y="1990"/>
                    <a:pt x="704" y="2027"/>
                    <a:pt x="571" y="2043"/>
                  </a:cubicBezTo>
                  <a:cubicBezTo>
                    <a:pt x="660" y="2143"/>
                    <a:pt x="729" y="2253"/>
                    <a:pt x="870" y="2307"/>
                  </a:cubicBezTo>
                  <a:close/>
                  <a:moveTo>
                    <a:pt x="1530" y="1926"/>
                  </a:moveTo>
                  <a:cubicBezTo>
                    <a:pt x="1551" y="1781"/>
                    <a:pt x="1488" y="1669"/>
                    <a:pt x="1445" y="1545"/>
                  </a:cubicBezTo>
                  <a:cubicBezTo>
                    <a:pt x="1368" y="1652"/>
                    <a:pt x="1277" y="1741"/>
                    <a:pt x="1256" y="1887"/>
                  </a:cubicBezTo>
                  <a:cubicBezTo>
                    <a:pt x="1243" y="1981"/>
                    <a:pt x="1286" y="2054"/>
                    <a:pt x="1357" y="2152"/>
                  </a:cubicBezTo>
                  <a:cubicBezTo>
                    <a:pt x="1454" y="2078"/>
                    <a:pt x="1516" y="2021"/>
                    <a:pt x="1530" y="1926"/>
                  </a:cubicBezTo>
                  <a:close/>
                  <a:moveTo>
                    <a:pt x="2105" y="4941"/>
                  </a:moveTo>
                  <a:cubicBezTo>
                    <a:pt x="2138" y="4837"/>
                    <a:pt x="2153" y="4762"/>
                    <a:pt x="2114" y="4686"/>
                  </a:cubicBezTo>
                  <a:cubicBezTo>
                    <a:pt x="2053" y="4569"/>
                    <a:pt x="1949" y="4520"/>
                    <a:pt x="1853" y="4452"/>
                  </a:cubicBezTo>
                  <a:cubicBezTo>
                    <a:pt x="1853" y="4569"/>
                    <a:pt x="1833" y="4682"/>
                    <a:pt x="1893" y="4800"/>
                  </a:cubicBezTo>
                  <a:cubicBezTo>
                    <a:pt x="1932" y="4875"/>
                    <a:pt x="2002" y="4907"/>
                    <a:pt x="2105" y="4941"/>
                  </a:cubicBezTo>
                  <a:close/>
                  <a:moveTo>
                    <a:pt x="2102" y="5211"/>
                  </a:moveTo>
                  <a:cubicBezTo>
                    <a:pt x="2002" y="5130"/>
                    <a:pt x="1927" y="5081"/>
                    <a:pt x="1827" y="5091"/>
                  </a:cubicBezTo>
                  <a:cubicBezTo>
                    <a:pt x="1671" y="5106"/>
                    <a:pt x="1572" y="5198"/>
                    <a:pt x="1455" y="5274"/>
                  </a:cubicBezTo>
                  <a:cubicBezTo>
                    <a:pt x="1584" y="5326"/>
                    <a:pt x="1699" y="5397"/>
                    <a:pt x="1855" y="5382"/>
                  </a:cubicBezTo>
                  <a:cubicBezTo>
                    <a:pt x="1955" y="5373"/>
                    <a:pt x="2020" y="5310"/>
                    <a:pt x="2102" y="5211"/>
                  </a:cubicBezTo>
                  <a:close/>
                  <a:moveTo>
                    <a:pt x="6124" y="7339"/>
                  </a:moveTo>
                  <a:cubicBezTo>
                    <a:pt x="6116" y="7462"/>
                    <a:pt x="6120" y="7549"/>
                    <a:pt x="6183" y="7622"/>
                  </a:cubicBezTo>
                  <a:cubicBezTo>
                    <a:pt x="6281" y="7735"/>
                    <a:pt x="6409" y="7762"/>
                    <a:pt x="6534" y="7811"/>
                  </a:cubicBezTo>
                  <a:cubicBezTo>
                    <a:pt x="6503" y="7681"/>
                    <a:pt x="6495" y="7551"/>
                    <a:pt x="6397" y="7437"/>
                  </a:cubicBezTo>
                  <a:cubicBezTo>
                    <a:pt x="6333" y="7364"/>
                    <a:pt x="6247" y="7349"/>
                    <a:pt x="6124" y="7339"/>
                  </a:cubicBezTo>
                  <a:close/>
                  <a:moveTo>
                    <a:pt x="6282" y="6783"/>
                  </a:moveTo>
                  <a:cubicBezTo>
                    <a:pt x="6174" y="6821"/>
                    <a:pt x="6119" y="6908"/>
                    <a:pt x="6055" y="7039"/>
                  </a:cubicBezTo>
                  <a:cubicBezTo>
                    <a:pt x="6187" y="7102"/>
                    <a:pt x="6284" y="7136"/>
                    <a:pt x="6392" y="7098"/>
                  </a:cubicBezTo>
                  <a:cubicBezTo>
                    <a:pt x="6559" y="7039"/>
                    <a:pt x="6645" y="6910"/>
                    <a:pt x="6753" y="6795"/>
                  </a:cubicBezTo>
                  <a:cubicBezTo>
                    <a:pt x="6596" y="6772"/>
                    <a:pt x="6450" y="6724"/>
                    <a:pt x="6282" y="6783"/>
                  </a:cubicBezTo>
                  <a:close/>
                  <a:moveTo>
                    <a:pt x="513" y="5584"/>
                  </a:moveTo>
                  <a:cubicBezTo>
                    <a:pt x="305" y="5637"/>
                    <a:pt x="189" y="5783"/>
                    <a:pt x="46" y="5910"/>
                  </a:cubicBezTo>
                  <a:cubicBezTo>
                    <a:pt x="233" y="5954"/>
                    <a:pt x="404" y="6027"/>
                    <a:pt x="612" y="5974"/>
                  </a:cubicBezTo>
                  <a:cubicBezTo>
                    <a:pt x="746" y="5940"/>
                    <a:pt x="821" y="5841"/>
                    <a:pt x="912" y="5690"/>
                  </a:cubicBezTo>
                  <a:cubicBezTo>
                    <a:pt x="760" y="5601"/>
                    <a:pt x="647" y="5550"/>
                    <a:pt x="513" y="5584"/>
                  </a:cubicBezTo>
                  <a:close/>
                  <a:moveTo>
                    <a:pt x="860" y="5294"/>
                  </a:moveTo>
                  <a:cubicBezTo>
                    <a:pt x="898" y="5396"/>
                    <a:pt x="982" y="5444"/>
                    <a:pt x="1107" y="5502"/>
                  </a:cubicBezTo>
                  <a:cubicBezTo>
                    <a:pt x="1162" y="5376"/>
                    <a:pt x="1192" y="5284"/>
                    <a:pt x="1154" y="5184"/>
                  </a:cubicBezTo>
                  <a:cubicBezTo>
                    <a:pt x="1094" y="5027"/>
                    <a:pt x="972" y="4950"/>
                    <a:pt x="860" y="4851"/>
                  </a:cubicBezTo>
                  <a:cubicBezTo>
                    <a:pt x="843" y="4999"/>
                    <a:pt x="801" y="5138"/>
                    <a:pt x="860" y="5294"/>
                  </a:cubicBezTo>
                  <a:close/>
                  <a:moveTo>
                    <a:pt x="1806" y="6620"/>
                  </a:moveTo>
                  <a:cubicBezTo>
                    <a:pt x="1835" y="6545"/>
                    <a:pt x="1814" y="6477"/>
                    <a:pt x="1773" y="6384"/>
                  </a:cubicBezTo>
                  <a:cubicBezTo>
                    <a:pt x="1681" y="6426"/>
                    <a:pt x="1619" y="6462"/>
                    <a:pt x="1590" y="6536"/>
                  </a:cubicBezTo>
                  <a:cubicBezTo>
                    <a:pt x="1546" y="6651"/>
                    <a:pt x="1575" y="6754"/>
                    <a:pt x="1587" y="6863"/>
                  </a:cubicBezTo>
                  <a:cubicBezTo>
                    <a:pt x="1670" y="6791"/>
                    <a:pt x="1762" y="6735"/>
                    <a:pt x="1806" y="6620"/>
                  </a:cubicBezTo>
                  <a:close/>
                  <a:moveTo>
                    <a:pt x="1744" y="6133"/>
                  </a:moveTo>
                  <a:cubicBezTo>
                    <a:pt x="1658" y="6049"/>
                    <a:pt x="1592" y="5997"/>
                    <a:pt x="1498" y="5998"/>
                  </a:cubicBezTo>
                  <a:cubicBezTo>
                    <a:pt x="1352" y="5999"/>
                    <a:pt x="1252" y="6077"/>
                    <a:pt x="1136" y="6138"/>
                  </a:cubicBezTo>
                  <a:cubicBezTo>
                    <a:pt x="1252" y="6197"/>
                    <a:pt x="1354" y="6273"/>
                    <a:pt x="1500" y="6272"/>
                  </a:cubicBezTo>
                  <a:cubicBezTo>
                    <a:pt x="1594" y="6271"/>
                    <a:pt x="1660" y="6218"/>
                    <a:pt x="1744" y="6133"/>
                  </a:cubicBezTo>
                  <a:close/>
                  <a:moveTo>
                    <a:pt x="6985" y="1501"/>
                  </a:moveTo>
                  <a:cubicBezTo>
                    <a:pt x="7103" y="1277"/>
                    <a:pt x="7067" y="1060"/>
                    <a:pt x="7068" y="834"/>
                  </a:cubicBezTo>
                  <a:cubicBezTo>
                    <a:pt x="6882" y="963"/>
                    <a:pt x="6683" y="1056"/>
                    <a:pt x="6565" y="1279"/>
                  </a:cubicBezTo>
                  <a:cubicBezTo>
                    <a:pt x="6488" y="1424"/>
                    <a:pt x="6516" y="1568"/>
                    <a:pt x="6577" y="1766"/>
                  </a:cubicBezTo>
                  <a:cubicBezTo>
                    <a:pt x="6775" y="1704"/>
                    <a:pt x="6909" y="1645"/>
                    <a:pt x="6985" y="1501"/>
                  </a:cubicBezTo>
                  <a:close/>
                  <a:moveTo>
                    <a:pt x="5308" y="1274"/>
                  </a:moveTo>
                  <a:cubicBezTo>
                    <a:pt x="5426" y="1050"/>
                    <a:pt x="5389" y="833"/>
                    <a:pt x="5391" y="607"/>
                  </a:cubicBezTo>
                  <a:cubicBezTo>
                    <a:pt x="5205" y="736"/>
                    <a:pt x="5005" y="829"/>
                    <a:pt x="4887" y="1052"/>
                  </a:cubicBezTo>
                  <a:cubicBezTo>
                    <a:pt x="4811" y="1197"/>
                    <a:pt x="4839" y="1341"/>
                    <a:pt x="4899" y="1540"/>
                  </a:cubicBezTo>
                  <a:cubicBezTo>
                    <a:pt x="5097" y="1477"/>
                    <a:pt x="5231" y="1419"/>
                    <a:pt x="5308" y="1274"/>
                  </a:cubicBezTo>
                  <a:close/>
                  <a:moveTo>
                    <a:pt x="7210" y="2360"/>
                  </a:moveTo>
                  <a:cubicBezTo>
                    <a:pt x="7062" y="2220"/>
                    <a:pt x="6944" y="2060"/>
                    <a:pt x="6725" y="1996"/>
                  </a:cubicBezTo>
                  <a:cubicBezTo>
                    <a:pt x="6584" y="1955"/>
                    <a:pt x="6462" y="2006"/>
                    <a:pt x="6297" y="2095"/>
                  </a:cubicBezTo>
                  <a:cubicBezTo>
                    <a:pt x="6388" y="2259"/>
                    <a:pt x="6464" y="2366"/>
                    <a:pt x="6606" y="2408"/>
                  </a:cubicBezTo>
                  <a:cubicBezTo>
                    <a:pt x="6825" y="2472"/>
                    <a:pt x="7009" y="2400"/>
                    <a:pt x="7210" y="2360"/>
                  </a:cubicBezTo>
                  <a:close/>
                  <a:moveTo>
                    <a:pt x="8436" y="6143"/>
                  </a:moveTo>
                  <a:cubicBezTo>
                    <a:pt x="8625" y="6160"/>
                    <a:pt x="8762" y="6153"/>
                    <a:pt x="8882" y="6057"/>
                  </a:cubicBezTo>
                  <a:cubicBezTo>
                    <a:pt x="9077" y="5897"/>
                    <a:pt x="9127" y="5685"/>
                    <a:pt x="9216" y="5479"/>
                  </a:cubicBezTo>
                  <a:cubicBezTo>
                    <a:pt x="8996" y="5524"/>
                    <a:pt x="8778" y="5531"/>
                    <a:pt x="8583" y="5690"/>
                  </a:cubicBezTo>
                  <a:cubicBezTo>
                    <a:pt x="8461" y="5790"/>
                    <a:pt x="8429" y="5927"/>
                    <a:pt x="8407" y="6122"/>
                  </a:cubicBezTo>
                  <a:cubicBezTo>
                    <a:pt x="7877" y="6339"/>
                    <a:pt x="7263" y="6221"/>
                    <a:pt x="6748" y="5992"/>
                  </a:cubicBezTo>
                  <a:cubicBezTo>
                    <a:pt x="7169" y="5641"/>
                    <a:pt x="7543" y="5240"/>
                    <a:pt x="7861" y="4804"/>
                  </a:cubicBezTo>
                  <a:cubicBezTo>
                    <a:pt x="8070" y="4769"/>
                    <a:pt x="8217" y="4724"/>
                    <a:pt x="8319" y="4585"/>
                  </a:cubicBezTo>
                  <a:cubicBezTo>
                    <a:pt x="8486" y="4359"/>
                    <a:pt x="8481" y="4115"/>
                    <a:pt x="8519" y="3866"/>
                  </a:cubicBezTo>
                  <a:cubicBezTo>
                    <a:pt x="8294" y="3978"/>
                    <a:pt x="8060" y="4047"/>
                    <a:pt x="7894" y="4273"/>
                  </a:cubicBezTo>
                  <a:cubicBezTo>
                    <a:pt x="7794" y="4409"/>
                    <a:pt x="7793" y="4560"/>
                    <a:pt x="7821" y="4764"/>
                  </a:cubicBezTo>
                  <a:cubicBezTo>
                    <a:pt x="7262" y="5382"/>
                    <a:pt x="6574" y="5889"/>
                    <a:pt x="5830" y="6240"/>
                  </a:cubicBezTo>
                  <a:cubicBezTo>
                    <a:pt x="5788" y="5512"/>
                    <a:pt x="6088" y="4747"/>
                    <a:pt x="6647" y="4222"/>
                  </a:cubicBezTo>
                  <a:cubicBezTo>
                    <a:pt x="6789" y="4264"/>
                    <a:pt x="6896" y="4283"/>
                    <a:pt x="7002" y="4227"/>
                  </a:cubicBezTo>
                  <a:cubicBezTo>
                    <a:pt x="7174" y="4137"/>
                    <a:pt x="7246" y="3984"/>
                    <a:pt x="7346" y="3842"/>
                  </a:cubicBezTo>
                  <a:cubicBezTo>
                    <a:pt x="7172" y="3842"/>
                    <a:pt x="7005" y="3813"/>
                    <a:pt x="6833" y="3903"/>
                  </a:cubicBezTo>
                  <a:cubicBezTo>
                    <a:pt x="6730" y="3957"/>
                    <a:pt x="6683" y="4052"/>
                    <a:pt x="6638" y="4187"/>
                  </a:cubicBezTo>
                  <a:cubicBezTo>
                    <a:pt x="6241" y="4482"/>
                    <a:pt x="5926" y="4897"/>
                    <a:pt x="5737" y="5370"/>
                  </a:cubicBezTo>
                  <a:cubicBezTo>
                    <a:pt x="5527" y="5152"/>
                    <a:pt x="5413" y="4828"/>
                    <a:pt x="5395" y="4493"/>
                  </a:cubicBezTo>
                  <a:cubicBezTo>
                    <a:pt x="5473" y="4430"/>
                    <a:pt x="5524" y="4375"/>
                    <a:pt x="5535" y="4292"/>
                  </a:cubicBezTo>
                  <a:cubicBezTo>
                    <a:pt x="5555" y="4148"/>
                    <a:pt x="5493" y="4037"/>
                    <a:pt x="5450" y="3914"/>
                  </a:cubicBezTo>
                  <a:cubicBezTo>
                    <a:pt x="5374" y="4020"/>
                    <a:pt x="5284" y="4110"/>
                    <a:pt x="5264" y="4254"/>
                  </a:cubicBezTo>
                  <a:cubicBezTo>
                    <a:pt x="5253" y="4335"/>
                    <a:pt x="5285" y="4401"/>
                    <a:pt x="5340" y="4480"/>
                  </a:cubicBezTo>
                  <a:cubicBezTo>
                    <a:pt x="5313" y="4853"/>
                    <a:pt x="5402" y="5241"/>
                    <a:pt x="5673" y="5548"/>
                  </a:cubicBezTo>
                  <a:cubicBezTo>
                    <a:pt x="5589" y="5810"/>
                    <a:pt x="5543" y="6086"/>
                    <a:pt x="5542" y="6368"/>
                  </a:cubicBezTo>
                  <a:cubicBezTo>
                    <a:pt x="4951" y="6610"/>
                    <a:pt x="4332" y="6752"/>
                    <a:pt x="3719" y="6778"/>
                  </a:cubicBezTo>
                  <a:cubicBezTo>
                    <a:pt x="4077" y="5884"/>
                    <a:pt x="4499" y="4977"/>
                    <a:pt x="4738" y="4005"/>
                  </a:cubicBezTo>
                  <a:lnTo>
                    <a:pt x="4741" y="4005"/>
                  </a:lnTo>
                  <a:cubicBezTo>
                    <a:pt x="4959" y="2966"/>
                    <a:pt x="5835" y="2006"/>
                    <a:pt x="6950" y="1807"/>
                  </a:cubicBezTo>
                  <a:cubicBezTo>
                    <a:pt x="7062" y="1936"/>
                    <a:pt x="7156" y="2018"/>
                    <a:pt x="7294" y="2030"/>
                  </a:cubicBezTo>
                  <a:cubicBezTo>
                    <a:pt x="7521" y="2049"/>
                    <a:pt x="7688" y="1942"/>
                    <a:pt x="7876" y="1864"/>
                  </a:cubicBezTo>
                  <a:cubicBezTo>
                    <a:pt x="7704" y="1755"/>
                    <a:pt x="7557" y="1622"/>
                    <a:pt x="7329" y="1603"/>
                  </a:cubicBezTo>
                  <a:cubicBezTo>
                    <a:pt x="7188" y="1591"/>
                    <a:pt x="7081" y="1660"/>
                    <a:pt x="6944" y="1773"/>
                  </a:cubicBezTo>
                  <a:cubicBezTo>
                    <a:pt x="6151" y="1839"/>
                    <a:pt x="5409" y="2291"/>
                    <a:pt x="4908" y="2944"/>
                  </a:cubicBezTo>
                  <a:cubicBezTo>
                    <a:pt x="4941" y="2319"/>
                    <a:pt x="4850" y="1693"/>
                    <a:pt x="4650" y="1111"/>
                  </a:cubicBezTo>
                  <a:cubicBezTo>
                    <a:pt x="4739" y="910"/>
                    <a:pt x="4783" y="756"/>
                    <a:pt x="4722" y="589"/>
                  </a:cubicBezTo>
                  <a:cubicBezTo>
                    <a:pt x="4620" y="313"/>
                    <a:pt x="4404" y="177"/>
                    <a:pt x="4210" y="0"/>
                  </a:cubicBezTo>
                  <a:cubicBezTo>
                    <a:pt x="4177" y="261"/>
                    <a:pt x="4102" y="504"/>
                    <a:pt x="4204" y="780"/>
                  </a:cubicBezTo>
                  <a:cubicBezTo>
                    <a:pt x="4265" y="947"/>
                    <a:pt x="4400" y="1034"/>
                    <a:pt x="4597" y="1129"/>
                  </a:cubicBezTo>
                  <a:cubicBezTo>
                    <a:pt x="4961" y="2622"/>
                    <a:pt x="4417" y="4074"/>
                    <a:pt x="3712" y="5439"/>
                  </a:cubicBezTo>
                  <a:cubicBezTo>
                    <a:pt x="3467" y="5337"/>
                    <a:pt x="3245" y="5199"/>
                    <a:pt x="3048" y="5031"/>
                  </a:cubicBezTo>
                  <a:cubicBezTo>
                    <a:pt x="3005" y="4700"/>
                    <a:pt x="3126" y="4337"/>
                    <a:pt x="3340" y="4035"/>
                  </a:cubicBezTo>
                  <a:cubicBezTo>
                    <a:pt x="3449" y="4035"/>
                    <a:pt x="3530" y="4023"/>
                    <a:pt x="3596" y="3961"/>
                  </a:cubicBezTo>
                  <a:cubicBezTo>
                    <a:pt x="3709" y="3853"/>
                    <a:pt x="3730" y="3719"/>
                    <a:pt x="3775" y="3587"/>
                  </a:cubicBezTo>
                  <a:cubicBezTo>
                    <a:pt x="3641" y="3626"/>
                    <a:pt x="3506" y="3640"/>
                    <a:pt x="3394" y="3748"/>
                  </a:cubicBezTo>
                  <a:cubicBezTo>
                    <a:pt x="3330" y="3808"/>
                    <a:pt x="3313" y="3885"/>
                    <a:pt x="3307" y="3987"/>
                  </a:cubicBezTo>
                  <a:cubicBezTo>
                    <a:pt x="3084" y="4229"/>
                    <a:pt x="2921" y="4533"/>
                    <a:pt x="2882" y="4877"/>
                  </a:cubicBezTo>
                  <a:cubicBezTo>
                    <a:pt x="2518" y="4510"/>
                    <a:pt x="2253" y="4036"/>
                    <a:pt x="2100" y="3516"/>
                  </a:cubicBezTo>
                  <a:cubicBezTo>
                    <a:pt x="2548" y="3313"/>
                    <a:pt x="2899" y="2941"/>
                    <a:pt x="3067" y="2504"/>
                  </a:cubicBezTo>
                  <a:cubicBezTo>
                    <a:pt x="3212" y="2405"/>
                    <a:pt x="3307" y="2321"/>
                    <a:pt x="3335" y="2183"/>
                  </a:cubicBezTo>
                  <a:cubicBezTo>
                    <a:pt x="3380" y="1959"/>
                    <a:pt x="3292" y="1780"/>
                    <a:pt x="3236" y="1584"/>
                  </a:cubicBezTo>
                  <a:cubicBezTo>
                    <a:pt x="3108" y="1743"/>
                    <a:pt x="2959" y="1875"/>
                    <a:pt x="2914" y="2098"/>
                  </a:cubicBezTo>
                  <a:cubicBezTo>
                    <a:pt x="2888" y="2232"/>
                    <a:pt x="2939" y="2343"/>
                    <a:pt x="3028" y="2483"/>
                  </a:cubicBezTo>
                  <a:cubicBezTo>
                    <a:pt x="2820" y="2883"/>
                    <a:pt x="2459" y="3182"/>
                    <a:pt x="2047" y="3321"/>
                  </a:cubicBezTo>
                  <a:cubicBezTo>
                    <a:pt x="1927" y="2817"/>
                    <a:pt x="1909" y="2281"/>
                    <a:pt x="2003" y="1763"/>
                  </a:cubicBezTo>
                  <a:cubicBezTo>
                    <a:pt x="2197" y="1676"/>
                    <a:pt x="2330" y="1587"/>
                    <a:pt x="2400" y="1420"/>
                  </a:cubicBezTo>
                  <a:cubicBezTo>
                    <a:pt x="2527" y="1120"/>
                    <a:pt x="2457" y="846"/>
                    <a:pt x="2434" y="556"/>
                  </a:cubicBezTo>
                  <a:cubicBezTo>
                    <a:pt x="2209" y="741"/>
                    <a:pt x="1964" y="882"/>
                    <a:pt x="1837" y="1182"/>
                  </a:cubicBezTo>
                  <a:cubicBezTo>
                    <a:pt x="1759" y="1366"/>
                    <a:pt x="1803" y="1539"/>
                    <a:pt x="1892" y="1770"/>
                  </a:cubicBezTo>
                  <a:cubicBezTo>
                    <a:pt x="1822" y="2032"/>
                    <a:pt x="1779" y="2304"/>
                    <a:pt x="1765" y="2579"/>
                  </a:cubicBezTo>
                  <a:cubicBezTo>
                    <a:pt x="1486" y="2439"/>
                    <a:pt x="1257" y="2166"/>
                    <a:pt x="1116" y="1850"/>
                  </a:cubicBezTo>
                  <a:cubicBezTo>
                    <a:pt x="1171" y="1757"/>
                    <a:pt x="1201" y="1681"/>
                    <a:pt x="1181" y="1593"/>
                  </a:cubicBezTo>
                  <a:cubicBezTo>
                    <a:pt x="1145" y="1441"/>
                    <a:pt x="1041" y="1355"/>
                    <a:pt x="950" y="1249"/>
                  </a:cubicBezTo>
                  <a:cubicBezTo>
                    <a:pt x="916" y="1384"/>
                    <a:pt x="860" y="1507"/>
                    <a:pt x="895" y="1659"/>
                  </a:cubicBezTo>
                  <a:cubicBezTo>
                    <a:pt x="916" y="1746"/>
                    <a:pt x="974" y="1799"/>
                    <a:pt x="1061" y="1857"/>
                  </a:cubicBezTo>
                  <a:cubicBezTo>
                    <a:pt x="1173" y="2224"/>
                    <a:pt x="1397" y="2561"/>
                    <a:pt x="1759" y="2766"/>
                  </a:cubicBezTo>
                  <a:cubicBezTo>
                    <a:pt x="1757" y="3180"/>
                    <a:pt x="1818" y="3596"/>
                    <a:pt x="1945" y="3991"/>
                  </a:cubicBezTo>
                  <a:cubicBezTo>
                    <a:pt x="1531" y="3995"/>
                    <a:pt x="1110" y="3860"/>
                    <a:pt x="764" y="3599"/>
                  </a:cubicBezTo>
                  <a:cubicBezTo>
                    <a:pt x="779" y="3479"/>
                    <a:pt x="779" y="3392"/>
                    <a:pt x="721" y="3314"/>
                  </a:cubicBezTo>
                  <a:cubicBezTo>
                    <a:pt x="626" y="3187"/>
                    <a:pt x="493" y="3149"/>
                    <a:pt x="364" y="3088"/>
                  </a:cubicBezTo>
                  <a:cubicBezTo>
                    <a:pt x="387" y="3228"/>
                    <a:pt x="387" y="3366"/>
                    <a:pt x="482" y="3493"/>
                  </a:cubicBezTo>
                  <a:cubicBezTo>
                    <a:pt x="537" y="3567"/>
                    <a:pt x="616" y="3592"/>
                    <a:pt x="724" y="3611"/>
                  </a:cubicBezTo>
                  <a:cubicBezTo>
                    <a:pt x="1057" y="3953"/>
                    <a:pt x="1524" y="4176"/>
                    <a:pt x="2025" y="4219"/>
                  </a:cubicBezTo>
                  <a:cubicBezTo>
                    <a:pt x="2195" y="4649"/>
                    <a:pt x="2446" y="5047"/>
                    <a:pt x="2783" y="5380"/>
                  </a:cubicBezTo>
                  <a:cubicBezTo>
                    <a:pt x="2726" y="5408"/>
                    <a:pt x="2666" y="5433"/>
                    <a:pt x="2607" y="5456"/>
                  </a:cubicBezTo>
                  <a:cubicBezTo>
                    <a:pt x="2377" y="5127"/>
                    <a:pt x="2036" y="4934"/>
                    <a:pt x="1674" y="4848"/>
                  </a:cubicBezTo>
                  <a:cubicBezTo>
                    <a:pt x="1611" y="4766"/>
                    <a:pt x="1553" y="4711"/>
                    <a:pt x="1466" y="4696"/>
                  </a:cubicBezTo>
                  <a:cubicBezTo>
                    <a:pt x="1312" y="4671"/>
                    <a:pt x="1192" y="4734"/>
                    <a:pt x="1059" y="4777"/>
                  </a:cubicBezTo>
                  <a:cubicBezTo>
                    <a:pt x="1171" y="4861"/>
                    <a:pt x="1264" y="4960"/>
                    <a:pt x="1418" y="4986"/>
                  </a:cubicBezTo>
                  <a:cubicBezTo>
                    <a:pt x="1507" y="5000"/>
                    <a:pt x="1581" y="4965"/>
                    <a:pt x="1671" y="4904"/>
                  </a:cubicBezTo>
                  <a:cubicBezTo>
                    <a:pt x="1998" y="5025"/>
                    <a:pt x="2288" y="5239"/>
                    <a:pt x="2446" y="5513"/>
                  </a:cubicBezTo>
                  <a:cubicBezTo>
                    <a:pt x="1866" y="5695"/>
                    <a:pt x="1206" y="5669"/>
                    <a:pt x="626" y="5417"/>
                  </a:cubicBezTo>
                  <a:cubicBezTo>
                    <a:pt x="609" y="5269"/>
                    <a:pt x="583" y="5165"/>
                    <a:pt x="490" y="5089"/>
                  </a:cubicBezTo>
                  <a:cubicBezTo>
                    <a:pt x="339" y="4966"/>
                    <a:pt x="170" y="4961"/>
                    <a:pt x="0" y="4925"/>
                  </a:cubicBezTo>
                  <a:cubicBezTo>
                    <a:pt x="69" y="5085"/>
                    <a:pt x="109" y="5249"/>
                    <a:pt x="260" y="5372"/>
                  </a:cubicBezTo>
                  <a:cubicBezTo>
                    <a:pt x="350" y="5446"/>
                    <a:pt x="455" y="5451"/>
                    <a:pt x="597" y="5439"/>
                  </a:cubicBezTo>
                  <a:cubicBezTo>
                    <a:pt x="1026" y="5686"/>
                    <a:pt x="1531" y="5812"/>
                    <a:pt x="2040" y="5798"/>
                  </a:cubicBezTo>
                  <a:cubicBezTo>
                    <a:pt x="1923" y="6077"/>
                    <a:pt x="1671" y="6311"/>
                    <a:pt x="1370" y="6460"/>
                  </a:cubicBezTo>
                  <a:cubicBezTo>
                    <a:pt x="1282" y="6413"/>
                    <a:pt x="1211" y="6388"/>
                    <a:pt x="1130" y="6410"/>
                  </a:cubicBezTo>
                  <a:cubicBezTo>
                    <a:pt x="990" y="6448"/>
                    <a:pt x="913" y="6549"/>
                    <a:pt x="817" y="6638"/>
                  </a:cubicBezTo>
                  <a:cubicBezTo>
                    <a:pt x="945" y="6666"/>
                    <a:pt x="1062" y="6713"/>
                    <a:pt x="1203" y="6674"/>
                  </a:cubicBezTo>
                  <a:cubicBezTo>
                    <a:pt x="1283" y="6652"/>
                    <a:pt x="1331" y="6595"/>
                    <a:pt x="1382" y="6512"/>
                  </a:cubicBezTo>
                  <a:cubicBezTo>
                    <a:pt x="1734" y="6389"/>
                    <a:pt x="2052" y="6156"/>
                    <a:pt x="2227" y="5786"/>
                  </a:cubicBezTo>
                  <a:cubicBezTo>
                    <a:pt x="2497" y="5761"/>
                    <a:pt x="2764" y="5695"/>
                    <a:pt x="3020" y="5588"/>
                  </a:cubicBezTo>
                  <a:cubicBezTo>
                    <a:pt x="3159" y="5700"/>
                    <a:pt x="3310" y="5801"/>
                    <a:pt x="3472" y="5891"/>
                  </a:cubicBezTo>
                  <a:cubicBezTo>
                    <a:pt x="3347" y="6121"/>
                    <a:pt x="3219" y="6349"/>
                    <a:pt x="3093" y="6574"/>
                  </a:cubicBezTo>
                  <a:cubicBezTo>
                    <a:pt x="2582" y="7555"/>
                    <a:pt x="2106" y="8646"/>
                    <a:pt x="2033" y="9860"/>
                  </a:cubicBezTo>
                  <a:cubicBezTo>
                    <a:pt x="1968" y="10724"/>
                    <a:pt x="2133" y="11586"/>
                    <a:pt x="2424" y="12390"/>
                  </a:cubicBezTo>
                  <a:lnTo>
                    <a:pt x="3783" y="12390"/>
                  </a:lnTo>
                  <a:cubicBezTo>
                    <a:pt x="2870" y="10901"/>
                    <a:pt x="2820" y="9120"/>
                    <a:pt x="3464" y="7398"/>
                  </a:cubicBezTo>
                  <a:cubicBezTo>
                    <a:pt x="4143" y="7332"/>
                    <a:pt x="4788" y="7145"/>
                    <a:pt x="5383" y="6866"/>
                  </a:cubicBezTo>
                  <a:cubicBezTo>
                    <a:pt x="5732" y="7200"/>
                    <a:pt x="6185" y="7331"/>
                    <a:pt x="6629" y="7327"/>
                  </a:cubicBezTo>
                  <a:cubicBezTo>
                    <a:pt x="6720" y="7400"/>
                    <a:pt x="6798" y="7444"/>
                    <a:pt x="6897" y="7437"/>
                  </a:cubicBezTo>
                  <a:cubicBezTo>
                    <a:pt x="7074" y="7424"/>
                    <a:pt x="7189" y="7321"/>
                    <a:pt x="7324" y="7237"/>
                  </a:cubicBezTo>
                  <a:cubicBezTo>
                    <a:pt x="7178" y="7175"/>
                    <a:pt x="7049" y="7091"/>
                    <a:pt x="6872" y="7105"/>
                  </a:cubicBezTo>
                  <a:cubicBezTo>
                    <a:pt x="6769" y="7112"/>
                    <a:pt x="6697" y="7171"/>
                    <a:pt x="6614" y="7263"/>
                  </a:cubicBezTo>
                  <a:cubicBezTo>
                    <a:pt x="6207" y="7215"/>
                    <a:pt x="5815" y="7048"/>
                    <a:pt x="5568" y="6772"/>
                  </a:cubicBezTo>
                  <a:cubicBezTo>
                    <a:pt x="5925" y="6589"/>
                    <a:pt x="6262" y="6374"/>
                    <a:pt x="6576" y="6130"/>
                  </a:cubicBezTo>
                  <a:cubicBezTo>
                    <a:pt x="7171" y="6354"/>
                    <a:pt x="7881" y="6438"/>
                    <a:pt x="8436" y="6143"/>
                  </a:cubicBezTo>
                  <a:close/>
                  <a:moveTo>
                    <a:pt x="3454" y="2993"/>
                  </a:moveTo>
                  <a:cubicBezTo>
                    <a:pt x="3352" y="2940"/>
                    <a:pt x="3263" y="2871"/>
                    <a:pt x="3133" y="2871"/>
                  </a:cubicBezTo>
                  <a:cubicBezTo>
                    <a:pt x="3050" y="2871"/>
                    <a:pt x="2991" y="2917"/>
                    <a:pt x="2915" y="2991"/>
                  </a:cubicBezTo>
                  <a:cubicBezTo>
                    <a:pt x="2991" y="3066"/>
                    <a:pt x="3049" y="3113"/>
                    <a:pt x="3133" y="3113"/>
                  </a:cubicBezTo>
                  <a:cubicBezTo>
                    <a:pt x="3262" y="3114"/>
                    <a:pt x="3351" y="3046"/>
                    <a:pt x="3454" y="2993"/>
                  </a:cubicBezTo>
                  <a:close/>
                  <a:moveTo>
                    <a:pt x="3057" y="2739"/>
                  </a:moveTo>
                  <a:cubicBezTo>
                    <a:pt x="3191" y="2793"/>
                    <a:pt x="3288" y="2821"/>
                    <a:pt x="3393" y="2777"/>
                  </a:cubicBezTo>
                  <a:cubicBezTo>
                    <a:pt x="3555" y="2709"/>
                    <a:pt x="3632" y="2576"/>
                    <a:pt x="3732" y="2455"/>
                  </a:cubicBezTo>
                  <a:cubicBezTo>
                    <a:pt x="3575" y="2443"/>
                    <a:pt x="3427" y="2404"/>
                    <a:pt x="3265" y="2472"/>
                  </a:cubicBezTo>
                  <a:cubicBezTo>
                    <a:pt x="3160" y="2516"/>
                    <a:pt x="3112" y="2606"/>
                    <a:pt x="3057" y="2739"/>
                  </a:cubicBezTo>
                  <a:close/>
                  <a:moveTo>
                    <a:pt x="2728" y="2825"/>
                  </a:moveTo>
                  <a:cubicBezTo>
                    <a:pt x="2814" y="2694"/>
                    <a:pt x="2864" y="2597"/>
                    <a:pt x="2841" y="2476"/>
                  </a:cubicBezTo>
                  <a:cubicBezTo>
                    <a:pt x="2804" y="2290"/>
                    <a:pt x="2680" y="2180"/>
                    <a:pt x="2574" y="2048"/>
                  </a:cubicBezTo>
                  <a:cubicBezTo>
                    <a:pt x="2526" y="2211"/>
                    <a:pt x="2453" y="2359"/>
                    <a:pt x="2490" y="2546"/>
                  </a:cubicBezTo>
                  <a:cubicBezTo>
                    <a:pt x="2514" y="2667"/>
                    <a:pt x="2599" y="2737"/>
                    <a:pt x="2728" y="2825"/>
                  </a:cubicBezTo>
                  <a:close/>
                  <a:moveTo>
                    <a:pt x="4622" y="1869"/>
                  </a:moveTo>
                  <a:cubicBezTo>
                    <a:pt x="4596" y="1681"/>
                    <a:pt x="4564" y="1552"/>
                    <a:pt x="4445" y="1461"/>
                  </a:cubicBezTo>
                  <a:cubicBezTo>
                    <a:pt x="4262" y="1321"/>
                    <a:pt x="4062" y="1321"/>
                    <a:pt x="3859" y="1285"/>
                  </a:cubicBezTo>
                  <a:cubicBezTo>
                    <a:pt x="3947" y="1472"/>
                    <a:pt x="3999" y="1665"/>
                    <a:pt x="4182" y="1806"/>
                  </a:cubicBezTo>
                  <a:cubicBezTo>
                    <a:pt x="4301" y="1896"/>
                    <a:pt x="4434" y="1893"/>
                    <a:pt x="4622" y="1869"/>
                  </a:cubicBezTo>
                  <a:close/>
                  <a:moveTo>
                    <a:pt x="1038" y="13103"/>
                  </a:moveTo>
                  <a:lnTo>
                    <a:pt x="5326" y="13103"/>
                  </a:lnTo>
                  <a:lnTo>
                    <a:pt x="5326" y="12680"/>
                  </a:lnTo>
                  <a:lnTo>
                    <a:pt x="1038" y="12680"/>
                  </a:lnTo>
                  <a:lnTo>
                    <a:pt x="1038" y="13103"/>
                  </a:lnTo>
                  <a:close/>
                </a:path>
              </a:pathLst>
            </a:custGeom>
            <a:solidFill>
              <a:srgbClr val="EFE6FF"/>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26" name="Tree18" descr="{&quot;Key&quot;:&quot;POWER_USER_SHAPE_ICON&quot;,&quot;Value&quot;:&quot;POWER_USER_SHAPE_ICON_STYLE_1&quot;}">
              <a:extLst>
                <a:ext uri="{FF2B5EF4-FFF2-40B4-BE49-F238E27FC236}">
                  <a16:creationId xmlns:a16="http://schemas.microsoft.com/office/drawing/2014/main" id="{CD846ACB-09BF-172D-674F-19091B0C0909}"/>
                </a:ext>
              </a:extLst>
            </p:cNvPr>
            <p:cNvSpPr>
              <a:spLocks noEditPoints="1"/>
            </p:cNvSpPr>
            <p:nvPr>
              <p:custDataLst>
                <p:tags r:id="rId4"/>
              </p:custDataLst>
            </p:nvPr>
          </p:nvSpPr>
          <p:spPr bwMode="auto">
            <a:xfrm>
              <a:off x="9621116" y="725928"/>
              <a:ext cx="917575" cy="1235075"/>
            </a:xfrm>
            <a:custGeom>
              <a:avLst/>
              <a:gdLst>
                <a:gd name="T0" fmla="*/ 5963 w 8905"/>
                <a:gd name="T1" fmla="*/ 2641 h 11995"/>
                <a:gd name="T2" fmla="*/ 8598 w 8905"/>
                <a:gd name="T3" fmla="*/ 5541 h 11995"/>
                <a:gd name="T4" fmla="*/ 8164 w 8905"/>
                <a:gd name="T5" fmla="*/ 5601 h 11995"/>
                <a:gd name="T6" fmla="*/ 8084 w 8905"/>
                <a:gd name="T7" fmla="*/ 4195 h 11995"/>
                <a:gd name="T8" fmla="*/ 7628 w 8905"/>
                <a:gd name="T9" fmla="*/ 4356 h 11995"/>
                <a:gd name="T10" fmla="*/ 6659 w 8905"/>
                <a:gd name="T11" fmla="*/ 3809 h 11995"/>
                <a:gd name="T12" fmla="*/ 6224 w 8905"/>
                <a:gd name="T13" fmla="*/ 3766 h 11995"/>
                <a:gd name="T14" fmla="*/ 4799 w 8905"/>
                <a:gd name="T15" fmla="*/ 3661 h 11995"/>
                <a:gd name="T16" fmla="*/ 7146 w 8905"/>
                <a:gd name="T17" fmla="*/ 1857 h 11995"/>
                <a:gd name="T18" fmla="*/ 6826 w 8905"/>
                <a:gd name="T19" fmla="*/ 1622 h 11995"/>
                <a:gd name="T20" fmla="*/ 4793 w 8905"/>
                <a:gd name="T21" fmla="*/ 539 h 11995"/>
                <a:gd name="T22" fmla="*/ 4678 w 8905"/>
                <a:gd name="T23" fmla="*/ 1033 h 11995"/>
                <a:gd name="T24" fmla="*/ 3608 w 8905"/>
                <a:gd name="T25" fmla="*/ 2768 h 11995"/>
                <a:gd name="T26" fmla="*/ 3245 w 8905"/>
                <a:gd name="T27" fmla="*/ 2414 h 11995"/>
                <a:gd name="T28" fmla="*/ 2305 w 8905"/>
                <a:gd name="T29" fmla="*/ 1612 h 11995"/>
                <a:gd name="T30" fmla="*/ 2154 w 8905"/>
                <a:gd name="T31" fmla="*/ 1081 h 11995"/>
                <a:gd name="T32" fmla="*/ 1022 w 8905"/>
                <a:gd name="T33" fmla="*/ 2564 h 11995"/>
                <a:gd name="T34" fmla="*/ 742 w 8905"/>
                <a:gd name="T35" fmla="*/ 2311 h 11995"/>
                <a:gd name="T36" fmla="*/ 2337 w 8905"/>
                <a:gd name="T37" fmla="*/ 3886 h 11995"/>
                <a:gd name="T38" fmla="*/ 1681 w 8905"/>
                <a:gd name="T39" fmla="*/ 4432 h 11995"/>
                <a:gd name="T40" fmla="*/ 1770 w 8905"/>
                <a:gd name="T41" fmla="*/ 4753 h 11995"/>
                <a:gd name="T42" fmla="*/ 3303 w 8905"/>
                <a:gd name="T43" fmla="*/ 6014 h 11995"/>
                <a:gd name="T44" fmla="*/ 3902 w 8905"/>
                <a:gd name="T45" fmla="*/ 11282 h 11995"/>
                <a:gd name="T46" fmla="*/ 8191 w 8905"/>
                <a:gd name="T47" fmla="*/ 5620 h 11995"/>
                <a:gd name="T48" fmla="*/ 7590 w 8905"/>
                <a:gd name="T49" fmla="*/ 6198 h 11995"/>
                <a:gd name="T50" fmla="*/ 7506 w 8905"/>
                <a:gd name="T51" fmla="*/ 5879 h 11995"/>
                <a:gd name="T52" fmla="*/ 8241 w 8905"/>
                <a:gd name="T53" fmla="*/ 6060 h 11995"/>
                <a:gd name="T54" fmla="*/ 7621 w 8905"/>
                <a:gd name="T55" fmla="*/ 4702 h 11995"/>
                <a:gd name="T56" fmla="*/ 8096 w 8905"/>
                <a:gd name="T57" fmla="*/ 4798 h 11995"/>
                <a:gd name="T58" fmla="*/ 8106 w 8905"/>
                <a:gd name="T59" fmla="*/ 5025 h 11995"/>
                <a:gd name="T60" fmla="*/ 8010 w 8905"/>
                <a:gd name="T61" fmla="*/ 5470 h 11995"/>
                <a:gd name="T62" fmla="*/ 7357 w 8905"/>
                <a:gd name="T63" fmla="*/ 3737 h 11995"/>
                <a:gd name="T64" fmla="*/ 6010 w 8905"/>
                <a:gd name="T65" fmla="*/ 4278 h 11995"/>
                <a:gd name="T66" fmla="*/ 6624 w 8905"/>
                <a:gd name="T67" fmla="*/ 4288 h 11995"/>
                <a:gd name="T68" fmla="*/ 6025 w 8905"/>
                <a:gd name="T69" fmla="*/ 926 h 11995"/>
                <a:gd name="T70" fmla="*/ 6165 w 8905"/>
                <a:gd name="T71" fmla="*/ 1450 h 11995"/>
                <a:gd name="T72" fmla="*/ 535 w 8905"/>
                <a:gd name="T73" fmla="*/ 3084 h 11995"/>
                <a:gd name="T74" fmla="*/ 1722 w 8905"/>
                <a:gd name="T75" fmla="*/ 2788 h 11995"/>
                <a:gd name="T76" fmla="*/ 1529 w 8905"/>
                <a:gd name="T77" fmla="*/ 3075 h 11995"/>
                <a:gd name="T78" fmla="*/ 1702 w 8905"/>
                <a:gd name="T79" fmla="*/ 4885 h 11995"/>
                <a:gd name="T80" fmla="*/ 2067 w 8905"/>
                <a:gd name="T81" fmla="*/ 4982 h 11995"/>
                <a:gd name="T82" fmla="*/ 2020 w 8905"/>
                <a:gd name="T83" fmla="*/ 4214 h 11995"/>
                <a:gd name="T84" fmla="*/ 6863 w 8905"/>
                <a:gd name="T85" fmla="*/ 1373 h 11995"/>
                <a:gd name="T86" fmla="*/ 6489 w 8905"/>
                <a:gd name="T87" fmla="*/ 1616 h 11995"/>
                <a:gd name="T88" fmla="*/ 5405 w 8905"/>
                <a:gd name="T89" fmla="*/ 555 h 11995"/>
                <a:gd name="T90" fmla="*/ 5329 w 8905"/>
                <a:gd name="T91" fmla="*/ 1165 h 11995"/>
                <a:gd name="T92" fmla="*/ 7069 w 8905"/>
                <a:gd name="T93" fmla="*/ 2160 h 11995"/>
                <a:gd name="T94" fmla="*/ 3846 w 8905"/>
                <a:gd name="T95" fmla="*/ 3139 h 11995"/>
                <a:gd name="T96" fmla="*/ 4247 w 8905"/>
                <a:gd name="T97" fmla="*/ 3119 h 11995"/>
                <a:gd name="T98" fmla="*/ 4292 w 8905"/>
                <a:gd name="T99" fmla="*/ 2410 h 11995"/>
                <a:gd name="T100" fmla="*/ 4080 w 8905"/>
                <a:gd name="T101" fmla="*/ 2915 h 11995"/>
                <a:gd name="T102" fmla="*/ 2856 w 8905"/>
                <a:gd name="T103" fmla="*/ 2521 h 11995"/>
                <a:gd name="T104" fmla="*/ 4701 w 8905"/>
                <a:gd name="T105" fmla="*/ 1710 h 11995"/>
                <a:gd name="T106" fmla="*/ 4299 w 8905"/>
                <a:gd name="T107" fmla="*/ 1652 h 11995"/>
                <a:gd name="T108" fmla="*/ 5407 w 8905"/>
                <a:gd name="T109" fmla="*/ 11995 h 11995"/>
                <a:gd name="T110" fmla="*/ 1118 w 8905"/>
                <a:gd name="T111" fmla="*/ 11995 h 1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05" h="11995">
                  <a:moveTo>
                    <a:pt x="5757" y="3933"/>
                  </a:moveTo>
                  <a:cubicBezTo>
                    <a:pt x="5965" y="3780"/>
                    <a:pt x="6099" y="3658"/>
                    <a:pt x="6131" y="3457"/>
                  </a:cubicBezTo>
                  <a:cubicBezTo>
                    <a:pt x="6180" y="3147"/>
                    <a:pt x="6052" y="2907"/>
                    <a:pt x="5963" y="2641"/>
                  </a:cubicBezTo>
                  <a:cubicBezTo>
                    <a:pt x="5796" y="2866"/>
                    <a:pt x="5599" y="3055"/>
                    <a:pt x="5549" y="3365"/>
                  </a:cubicBezTo>
                  <a:cubicBezTo>
                    <a:pt x="5517" y="3565"/>
                    <a:pt x="5607" y="3722"/>
                    <a:pt x="5757" y="3933"/>
                  </a:cubicBezTo>
                  <a:close/>
                  <a:moveTo>
                    <a:pt x="8598" y="5541"/>
                  </a:moveTo>
                  <a:cubicBezTo>
                    <a:pt x="8776" y="5395"/>
                    <a:pt x="8823" y="5201"/>
                    <a:pt x="8905" y="5012"/>
                  </a:cubicBezTo>
                  <a:cubicBezTo>
                    <a:pt x="8703" y="5054"/>
                    <a:pt x="8503" y="5060"/>
                    <a:pt x="8325" y="5206"/>
                  </a:cubicBezTo>
                  <a:cubicBezTo>
                    <a:pt x="8213" y="5297"/>
                    <a:pt x="8184" y="5423"/>
                    <a:pt x="8164" y="5601"/>
                  </a:cubicBezTo>
                  <a:cubicBezTo>
                    <a:pt x="7678" y="5799"/>
                    <a:pt x="7114" y="5690"/>
                    <a:pt x="6642" y="5480"/>
                  </a:cubicBezTo>
                  <a:cubicBezTo>
                    <a:pt x="7027" y="5159"/>
                    <a:pt x="7370" y="4793"/>
                    <a:pt x="7662" y="4396"/>
                  </a:cubicBezTo>
                  <a:cubicBezTo>
                    <a:pt x="7854" y="4363"/>
                    <a:pt x="7990" y="4322"/>
                    <a:pt x="8084" y="4195"/>
                  </a:cubicBezTo>
                  <a:cubicBezTo>
                    <a:pt x="8236" y="3988"/>
                    <a:pt x="8232" y="3764"/>
                    <a:pt x="8267" y="3537"/>
                  </a:cubicBezTo>
                  <a:cubicBezTo>
                    <a:pt x="8060" y="3639"/>
                    <a:pt x="7846" y="3702"/>
                    <a:pt x="7694" y="3909"/>
                  </a:cubicBezTo>
                  <a:cubicBezTo>
                    <a:pt x="7604" y="4033"/>
                    <a:pt x="7603" y="4170"/>
                    <a:pt x="7628" y="4356"/>
                  </a:cubicBezTo>
                  <a:cubicBezTo>
                    <a:pt x="6974" y="5073"/>
                    <a:pt x="6134" y="5630"/>
                    <a:pt x="5238" y="5937"/>
                  </a:cubicBezTo>
                  <a:cubicBezTo>
                    <a:pt x="5229" y="5146"/>
                    <a:pt x="5634" y="4340"/>
                    <a:pt x="6285" y="3816"/>
                  </a:cubicBezTo>
                  <a:cubicBezTo>
                    <a:pt x="6430" y="3856"/>
                    <a:pt x="6545" y="3869"/>
                    <a:pt x="6659" y="3809"/>
                  </a:cubicBezTo>
                  <a:cubicBezTo>
                    <a:pt x="6864" y="3702"/>
                    <a:pt x="6950" y="3520"/>
                    <a:pt x="7068" y="3351"/>
                  </a:cubicBezTo>
                  <a:cubicBezTo>
                    <a:pt x="6862" y="3351"/>
                    <a:pt x="6664" y="3317"/>
                    <a:pt x="6458" y="3424"/>
                  </a:cubicBezTo>
                  <a:cubicBezTo>
                    <a:pt x="6334" y="3489"/>
                    <a:pt x="6279" y="3603"/>
                    <a:pt x="6224" y="3766"/>
                  </a:cubicBezTo>
                  <a:cubicBezTo>
                    <a:pt x="5483" y="4256"/>
                    <a:pt x="4947" y="5097"/>
                    <a:pt x="4900" y="6040"/>
                  </a:cubicBezTo>
                  <a:cubicBezTo>
                    <a:pt x="4562" y="6132"/>
                    <a:pt x="4220" y="6185"/>
                    <a:pt x="3878" y="6200"/>
                  </a:cubicBezTo>
                  <a:cubicBezTo>
                    <a:pt x="4225" y="5424"/>
                    <a:pt x="4593" y="4552"/>
                    <a:pt x="4799" y="3661"/>
                  </a:cubicBezTo>
                  <a:lnTo>
                    <a:pt x="4810" y="3664"/>
                  </a:lnTo>
                  <a:cubicBezTo>
                    <a:pt x="5010" y="2713"/>
                    <a:pt x="5811" y="1836"/>
                    <a:pt x="6831" y="1654"/>
                  </a:cubicBezTo>
                  <a:cubicBezTo>
                    <a:pt x="6934" y="1771"/>
                    <a:pt x="7019" y="1847"/>
                    <a:pt x="7146" y="1857"/>
                  </a:cubicBezTo>
                  <a:cubicBezTo>
                    <a:pt x="7354" y="1875"/>
                    <a:pt x="7506" y="1777"/>
                    <a:pt x="7678" y="1705"/>
                  </a:cubicBezTo>
                  <a:cubicBezTo>
                    <a:pt x="7521" y="1605"/>
                    <a:pt x="7386" y="1484"/>
                    <a:pt x="7178" y="1467"/>
                  </a:cubicBezTo>
                  <a:cubicBezTo>
                    <a:pt x="7049" y="1456"/>
                    <a:pt x="6951" y="1519"/>
                    <a:pt x="6826" y="1622"/>
                  </a:cubicBezTo>
                  <a:cubicBezTo>
                    <a:pt x="6092" y="1683"/>
                    <a:pt x="5406" y="2105"/>
                    <a:pt x="4948" y="2714"/>
                  </a:cubicBezTo>
                  <a:cubicBezTo>
                    <a:pt x="4992" y="2129"/>
                    <a:pt x="4940" y="1547"/>
                    <a:pt x="4739" y="990"/>
                  </a:cubicBezTo>
                  <a:cubicBezTo>
                    <a:pt x="4812" y="819"/>
                    <a:pt x="4847" y="685"/>
                    <a:pt x="4793" y="539"/>
                  </a:cubicBezTo>
                  <a:cubicBezTo>
                    <a:pt x="4700" y="287"/>
                    <a:pt x="4502" y="162"/>
                    <a:pt x="4324" y="0"/>
                  </a:cubicBezTo>
                  <a:cubicBezTo>
                    <a:pt x="4294" y="238"/>
                    <a:pt x="4226" y="462"/>
                    <a:pt x="4319" y="714"/>
                  </a:cubicBezTo>
                  <a:cubicBezTo>
                    <a:pt x="4375" y="866"/>
                    <a:pt x="4498" y="946"/>
                    <a:pt x="4678" y="1033"/>
                  </a:cubicBezTo>
                  <a:cubicBezTo>
                    <a:pt x="5011" y="2399"/>
                    <a:pt x="4514" y="3727"/>
                    <a:pt x="3870" y="4976"/>
                  </a:cubicBezTo>
                  <a:cubicBezTo>
                    <a:pt x="3536" y="4838"/>
                    <a:pt x="3249" y="4624"/>
                    <a:pt x="3014" y="4359"/>
                  </a:cubicBezTo>
                  <a:cubicBezTo>
                    <a:pt x="3426" y="3929"/>
                    <a:pt x="3640" y="3336"/>
                    <a:pt x="3608" y="2768"/>
                  </a:cubicBezTo>
                  <a:cubicBezTo>
                    <a:pt x="3712" y="2597"/>
                    <a:pt x="3771" y="2464"/>
                    <a:pt x="3737" y="2305"/>
                  </a:cubicBezTo>
                  <a:cubicBezTo>
                    <a:pt x="3678" y="2043"/>
                    <a:pt x="3500" y="1893"/>
                    <a:pt x="3347" y="1710"/>
                  </a:cubicBezTo>
                  <a:cubicBezTo>
                    <a:pt x="3285" y="1941"/>
                    <a:pt x="3187" y="2152"/>
                    <a:pt x="3245" y="2414"/>
                  </a:cubicBezTo>
                  <a:cubicBezTo>
                    <a:pt x="3280" y="2572"/>
                    <a:pt x="3390" y="2667"/>
                    <a:pt x="3555" y="2776"/>
                  </a:cubicBezTo>
                  <a:cubicBezTo>
                    <a:pt x="3522" y="3321"/>
                    <a:pt x="3261" y="3832"/>
                    <a:pt x="2861" y="4172"/>
                  </a:cubicBezTo>
                  <a:cubicBezTo>
                    <a:pt x="2349" y="3477"/>
                    <a:pt x="2143" y="2512"/>
                    <a:pt x="2305" y="1612"/>
                  </a:cubicBezTo>
                  <a:cubicBezTo>
                    <a:pt x="2481" y="1533"/>
                    <a:pt x="2605" y="1451"/>
                    <a:pt x="2669" y="1299"/>
                  </a:cubicBezTo>
                  <a:cubicBezTo>
                    <a:pt x="2785" y="1025"/>
                    <a:pt x="2721" y="774"/>
                    <a:pt x="2700" y="509"/>
                  </a:cubicBezTo>
                  <a:cubicBezTo>
                    <a:pt x="2495" y="678"/>
                    <a:pt x="2270" y="807"/>
                    <a:pt x="2154" y="1081"/>
                  </a:cubicBezTo>
                  <a:cubicBezTo>
                    <a:pt x="2082" y="1251"/>
                    <a:pt x="2123" y="1411"/>
                    <a:pt x="2206" y="1624"/>
                  </a:cubicBezTo>
                  <a:cubicBezTo>
                    <a:pt x="2041" y="2249"/>
                    <a:pt x="2041" y="2934"/>
                    <a:pt x="2226" y="3567"/>
                  </a:cubicBezTo>
                  <a:cubicBezTo>
                    <a:pt x="1739" y="3383"/>
                    <a:pt x="1307" y="3030"/>
                    <a:pt x="1022" y="2564"/>
                  </a:cubicBezTo>
                  <a:cubicBezTo>
                    <a:pt x="1095" y="2432"/>
                    <a:pt x="1135" y="2330"/>
                    <a:pt x="1103" y="2212"/>
                  </a:cubicBezTo>
                  <a:cubicBezTo>
                    <a:pt x="1050" y="2020"/>
                    <a:pt x="912" y="1915"/>
                    <a:pt x="791" y="1784"/>
                  </a:cubicBezTo>
                  <a:cubicBezTo>
                    <a:pt x="754" y="1958"/>
                    <a:pt x="689" y="2119"/>
                    <a:pt x="742" y="2311"/>
                  </a:cubicBezTo>
                  <a:cubicBezTo>
                    <a:pt x="772" y="2422"/>
                    <a:pt x="852" y="2488"/>
                    <a:pt x="970" y="2560"/>
                  </a:cubicBezTo>
                  <a:cubicBezTo>
                    <a:pt x="1217" y="3149"/>
                    <a:pt x="1701" y="3656"/>
                    <a:pt x="2322" y="3926"/>
                  </a:cubicBezTo>
                  <a:lnTo>
                    <a:pt x="2337" y="3886"/>
                  </a:lnTo>
                  <a:cubicBezTo>
                    <a:pt x="2485" y="4255"/>
                    <a:pt x="2704" y="4595"/>
                    <a:pt x="2989" y="4884"/>
                  </a:cubicBezTo>
                  <a:cubicBezTo>
                    <a:pt x="2596" y="4929"/>
                    <a:pt x="2184" y="4880"/>
                    <a:pt x="1804" y="4723"/>
                  </a:cubicBezTo>
                  <a:cubicBezTo>
                    <a:pt x="1788" y="4593"/>
                    <a:pt x="1764" y="4500"/>
                    <a:pt x="1681" y="4432"/>
                  </a:cubicBezTo>
                  <a:cubicBezTo>
                    <a:pt x="1543" y="4320"/>
                    <a:pt x="1389" y="4315"/>
                    <a:pt x="1233" y="4283"/>
                  </a:cubicBezTo>
                  <a:cubicBezTo>
                    <a:pt x="1296" y="4429"/>
                    <a:pt x="1332" y="4579"/>
                    <a:pt x="1471" y="4691"/>
                  </a:cubicBezTo>
                  <a:cubicBezTo>
                    <a:pt x="1551" y="4757"/>
                    <a:pt x="1645" y="4763"/>
                    <a:pt x="1770" y="4753"/>
                  </a:cubicBezTo>
                  <a:cubicBezTo>
                    <a:pt x="2198" y="5014"/>
                    <a:pt x="2717" y="5140"/>
                    <a:pt x="3242" y="5112"/>
                  </a:cubicBezTo>
                  <a:cubicBezTo>
                    <a:pt x="3367" y="5213"/>
                    <a:pt x="3505" y="5304"/>
                    <a:pt x="3652" y="5386"/>
                  </a:cubicBezTo>
                  <a:cubicBezTo>
                    <a:pt x="3537" y="5598"/>
                    <a:pt x="3419" y="5807"/>
                    <a:pt x="3303" y="6014"/>
                  </a:cubicBezTo>
                  <a:cubicBezTo>
                    <a:pt x="2835" y="6912"/>
                    <a:pt x="2400" y="7910"/>
                    <a:pt x="2333" y="9021"/>
                  </a:cubicBezTo>
                  <a:cubicBezTo>
                    <a:pt x="2275" y="9792"/>
                    <a:pt x="2417" y="10562"/>
                    <a:pt x="2672" y="11282"/>
                  </a:cubicBezTo>
                  <a:lnTo>
                    <a:pt x="3902" y="11282"/>
                  </a:lnTo>
                  <a:cubicBezTo>
                    <a:pt x="3098" y="9930"/>
                    <a:pt x="3061" y="8322"/>
                    <a:pt x="3642" y="6768"/>
                  </a:cubicBezTo>
                  <a:cubicBezTo>
                    <a:pt x="4708" y="6663"/>
                    <a:pt x="5680" y="6232"/>
                    <a:pt x="6485" y="5606"/>
                  </a:cubicBezTo>
                  <a:cubicBezTo>
                    <a:pt x="7030" y="5812"/>
                    <a:pt x="7682" y="5890"/>
                    <a:pt x="8191" y="5620"/>
                  </a:cubicBezTo>
                  <a:cubicBezTo>
                    <a:pt x="8363" y="5634"/>
                    <a:pt x="8489" y="5629"/>
                    <a:pt x="8598" y="5541"/>
                  </a:cubicBezTo>
                  <a:close/>
                  <a:moveTo>
                    <a:pt x="7506" y="5879"/>
                  </a:moveTo>
                  <a:cubicBezTo>
                    <a:pt x="7504" y="6020"/>
                    <a:pt x="7513" y="6119"/>
                    <a:pt x="7590" y="6198"/>
                  </a:cubicBezTo>
                  <a:cubicBezTo>
                    <a:pt x="7709" y="6322"/>
                    <a:pt x="7856" y="6345"/>
                    <a:pt x="8001" y="6394"/>
                  </a:cubicBezTo>
                  <a:cubicBezTo>
                    <a:pt x="7957" y="6247"/>
                    <a:pt x="7941" y="6099"/>
                    <a:pt x="7822" y="5975"/>
                  </a:cubicBezTo>
                  <a:cubicBezTo>
                    <a:pt x="7745" y="5896"/>
                    <a:pt x="7647" y="5883"/>
                    <a:pt x="7506" y="5879"/>
                  </a:cubicBezTo>
                  <a:close/>
                  <a:moveTo>
                    <a:pt x="8380" y="5770"/>
                  </a:moveTo>
                  <a:cubicBezTo>
                    <a:pt x="8280" y="5722"/>
                    <a:pt x="8183" y="5745"/>
                    <a:pt x="8050" y="5791"/>
                  </a:cubicBezTo>
                  <a:cubicBezTo>
                    <a:pt x="8098" y="5923"/>
                    <a:pt x="8141" y="6013"/>
                    <a:pt x="8241" y="6060"/>
                  </a:cubicBezTo>
                  <a:cubicBezTo>
                    <a:pt x="8395" y="6134"/>
                    <a:pt x="8541" y="6104"/>
                    <a:pt x="8694" y="6099"/>
                  </a:cubicBezTo>
                  <a:cubicBezTo>
                    <a:pt x="8602" y="5977"/>
                    <a:pt x="8535" y="5844"/>
                    <a:pt x="8380" y="5770"/>
                  </a:cubicBezTo>
                  <a:close/>
                  <a:moveTo>
                    <a:pt x="7621" y="4702"/>
                  </a:moveTo>
                  <a:cubicBezTo>
                    <a:pt x="7505" y="4721"/>
                    <a:pt x="7435" y="4799"/>
                    <a:pt x="7347" y="4920"/>
                  </a:cubicBezTo>
                  <a:cubicBezTo>
                    <a:pt x="7468" y="5007"/>
                    <a:pt x="7560" y="5059"/>
                    <a:pt x="7676" y="5040"/>
                  </a:cubicBezTo>
                  <a:cubicBezTo>
                    <a:pt x="7856" y="5011"/>
                    <a:pt x="7965" y="4896"/>
                    <a:pt x="8096" y="4798"/>
                  </a:cubicBezTo>
                  <a:cubicBezTo>
                    <a:pt x="7941" y="4747"/>
                    <a:pt x="7801" y="4673"/>
                    <a:pt x="7621" y="4702"/>
                  </a:cubicBezTo>
                  <a:close/>
                  <a:moveTo>
                    <a:pt x="8010" y="5470"/>
                  </a:moveTo>
                  <a:cubicBezTo>
                    <a:pt x="8104" y="5325"/>
                    <a:pt x="8092" y="5177"/>
                    <a:pt x="8106" y="5025"/>
                  </a:cubicBezTo>
                  <a:cubicBezTo>
                    <a:pt x="7973" y="5101"/>
                    <a:pt x="7833" y="5151"/>
                    <a:pt x="7740" y="5295"/>
                  </a:cubicBezTo>
                  <a:cubicBezTo>
                    <a:pt x="7680" y="5388"/>
                    <a:pt x="7690" y="5486"/>
                    <a:pt x="7719" y="5624"/>
                  </a:cubicBezTo>
                  <a:cubicBezTo>
                    <a:pt x="7856" y="5594"/>
                    <a:pt x="7950" y="5562"/>
                    <a:pt x="8010" y="5470"/>
                  </a:cubicBezTo>
                  <a:close/>
                  <a:moveTo>
                    <a:pt x="7215" y="4609"/>
                  </a:moveTo>
                  <a:cubicBezTo>
                    <a:pt x="7356" y="4506"/>
                    <a:pt x="7447" y="4424"/>
                    <a:pt x="7469" y="4289"/>
                  </a:cubicBezTo>
                  <a:cubicBezTo>
                    <a:pt x="7503" y="4079"/>
                    <a:pt x="7417" y="3917"/>
                    <a:pt x="7357" y="3737"/>
                  </a:cubicBezTo>
                  <a:cubicBezTo>
                    <a:pt x="7244" y="3889"/>
                    <a:pt x="7110" y="4015"/>
                    <a:pt x="7076" y="4225"/>
                  </a:cubicBezTo>
                  <a:cubicBezTo>
                    <a:pt x="7053" y="4360"/>
                    <a:pt x="7114" y="4467"/>
                    <a:pt x="7215" y="4609"/>
                  </a:cubicBezTo>
                  <a:close/>
                  <a:moveTo>
                    <a:pt x="6010" y="4278"/>
                  </a:moveTo>
                  <a:cubicBezTo>
                    <a:pt x="5869" y="4328"/>
                    <a:pt x="5799" y="4442"/>
                    <a:pt x="5717" y="4613"/>
                  </a:cubicBezTo>
                  <a:cubicBezTo>
                    <a:pt x="5889" y="4693"/>
                    <a:pt x="6016" y="4737"/>
                    <a:pt x="6156" y="4687"/>
                  </a:cubicBezTo>
                  <a:cubicBezTo>
                    <a:pt x="6374" y="4609"/>
                    <a:pt x="6484" y="4440"/>
                    <a:pt x="6624" y="4288"/>
                  </a:cubicBezTo>
                  <a:cubicBezTo>
                    <a:pt x="6419" y="4260"/>
                    <a:pt x="6228" y="4199"/>
                    <a:pt x="6010" y="4278"/>
                  </a:cubicBezTo>
                  <a:close/>
                  <a:moveTo>
                    <a:pt x="6165" y="1450"/>
                  </a:moveTo>
                  <a:cubicBezTo>
                    <a:pt x="6186" y="1246"/>
                    <a:pt x="6093" y="1095"/>
                    <a:pt x="6025" y="926"/>
                  </a:cubicBezTo>
                  <a:cubicBezTo>
                    <a:pt x="5926" y="1078"/>
                    <a:pt x="5804" y="1208"/>
                    <a:pt x="5784" y="1411"/>
                  </a:cubicBezTo>
                  <a:cubicBezTo>
                    <a:pt x="5770" y="1542"/>
                    <a:pt x="5835" y="1641"/>
                    <a:pt x="5940" y="1772"/>
                  </a:cubicBezTo>
                  <a:cubicBezTo>
                    <a:pt x="6069" y="1665"/>
                    <a:pt x="6152" y="1581"/>
                    <a:pt x="6165" y="1450"/>
                  </a:cubicBezTo>
                  <a:close/>
                  <a:moveTo>
                    <a:pt x="719" y="2610"/>
                  </a:moveTo>
                  <a:cubicBezTo>
                    <a:pt x="466" y="2512"/>
                    <a:pt x="240" y="2577"/>
                    <a:pt x="0" y="2603"/>
                  </a:cubicBezTo>
                  <a:cubicBezTo>
                    <a:pt x="159" y="2785"/>
                    <a:pt x="282" y="2986"/>
                    <a:pt x="535" y="3084"/>
                  </a:cubicBezTo>
                  <a:cubicBezTo>
                    <a:pt x="697" y="3147"/>
                    <a:pt x="847" y="3100"/>
                    <a:pt x="1051" y="3012"/>
                  </a:cubicBezTo>
                  <a:cubicBezTo>
                    <a:pt x="960" y="2809"/>
                    <a:pt x="882" y="2673"/>
                    <a:pt x="719" y="2610"/>
                  </a:cubicBezTo>
                  <a:close/>
                  <a:moveTo>
                    <a:pt x="1722" y="2788"/>
                  </a:moveTo>
                  <a:cubicBezTo>
                    <a:pt x="1737" y="2608"/>
                    <a:pt x="1652" y="2478"/>
                    <a:pt x="1590" y="2330"/>
                  </a:cubicBezTo>
                  <a:cubicBezTo>
                    <a:pt x="1505" y="2466"/>
                    <a:pt x="1400" y="2582"/>
                    <a:pt x="1386" y="2761"/>
                  </a:cubicBezTo>
                  <a:cubicBezTo>
                    <a:pt x="1376" y="2876"/>
                    <a:pt x="1435" y="2962"/>
                    <a:pt x="1529" y="3075"/>
                  </a:cubicBezTo>
                  <a:cubicBezTo>
                    <a:pt x="1642" y="2979"/>
                    <a:pt x="1713" y="2903"/>
                    <a:pt x="1722" y="2788"/>
                  </a:cubicBezTo>
                  <a:close/>
                  <a:moveTo>
                    <a:pt x="2067" y="4982"/>
                  </a:moveTo>
                  <a:cubicBezTo>
                    <a:pt x="1928" y="4901"/>
                    <a:pt x="1825" y="4854"/>
                    <a:pt x="1702" y="4885"/>
                  </a:cubicBezTo>
                  <a:cubicBezTo>
                    <a:pt x="1512" y="4933"/>
                    <a:pt x="1406" y="5067"/>
                    <a:pt x="1275" y="5184"/>
                  </a:cubicBezTo>
                  <a:cubicBezTo>
                    <a:pt x="1446" y="5224"/>
                    <a:pt x="1603" y="5291"/>
                    <a:pt x="1793" y="5242"/>
                  </a:cubicBezTo>
                  <a:cubicBezTo>
                    <a:pt x="1916" y="5211"/>
                    <a:pt x="1984" y="5120"/>
                    <a:pt x="2067" y="4982"/>
                  </a:cubicBezTo>
                  <a:close/>
                  <a:moveTo>
                    <a:pt x="2245" y="4810"/>
                  </a:moveTo>
                  <a:cubicBezTo>
                    <a:pt x="2296" y="4695"/>
                    <a:pt x="2323" y="4611"/>
                    <a:pt x="2288" y="4519"/>
                  </a:cubicBezTo>
                  <a:cubicBezTo>
                    <a:pt x="2234" y="4376"/>
                    <a:pt x="2122" y="4305"/>
                    <a:pt x="2020" y="4214"/>
                  </a:cubicBezTo>
                  <a:cubicBezTo>
                    <a:pt x="2004" y="4350"/>
                    <a:pt x="1965" y="4477"/>
                    <a:pt x="2020" y="4620"/>
                  </a:cubicBezTo>
                  <a:cubicBezTo>
                    <a:pt x="2055" y="4713"/>
                    <a:pt x="2131" y="4757"/>
                    <a:pt x="2245" y="4810"/>
                  </a:cubicBezTo>
                  <a:close/>
                  <a:moveTo>
                    <a:pt x="6863" y="1373"/>
                  </a:moveTo>
                  <a:cubicBezTo>
                    <a:pt x="6971" y="1168"/>
                    <a:pt x="6938" y="970"/>
                    <a:pt x="6939" y="763"/>
                  </a:cubicBezTo>
                  <a:cubicBezTo>
                    <a:pt x="6769" y="881"/>
                    <a:pt x="6586" y="966"/>
                    <a:pt x="6478" y="1170"/>
                  </a:cubicBezTo>
                  <a:cubicBezTo>
                    <a:pt x="6409" y="1303"/>
                    <a:pt x="6434" y="1434"/>
                    <a:pt x="6489" y="1616"/>
                  </a:cubicBezTo>
                  <a:cubicBezTo>
                    <a:pt x="6671" y="1559"/>
                    <a:pt x="6794" y="1506"/>
                    <a:pt x="6863" y="1373"/>
                  </a:cubicBezTo>
                  <a:close/>
                  <a:moveTo>
                    <a:pt x="5329" y="1165"/>
                  </a:moveTo>
                  <a:cubicBezTo>
                    <a:pt x="5437" y="961"/>
                    <a:pt x="5403" y="763"/>
                    <a:pt x="5405" y="555"/>
                  </a:cubicBezTo>
                  <a:cubicBezTo>
                    <a:pt x="5235" y="673"/>
                    <a:pt x="5052" y="758"/>
                    <a:pt x="4944" y="963"/>
                  </a:cubicBezTo>
                  <a:cubicBezTo>
                    <a:pt x="4874" y="1095"/>
                    <a:pt x="4900" y="1227"/>
                    <a:pt x="4955" y="1409"/>
                  </a:cubicBezTo>
                  <a:cubicBezTo>
                    <a:pt x="5136" y="1351"/>
                    <a:pt x="5259" y="1298"/>
                    <a:pt x="5329" y="1165"/>
                  </a:cubicBezTo>
                  <a:close/>
                  <a:moveTo>
                    <a:pt x="6234" y="1917"/>
                  </a:moveTo>
                  <a:cubicBezTo>
                    <a:pt x="6317" y="2067"/>
                    <a:pt x="6387" y="2165"/>
                    <a:pt x="6516" y="2203"/>
                  </a:cubicBezTo>
                  <a:cubicBezTo>
                    <a:pt x="6717" y="2261"/>
                    <a:pt x="6885" y="2196"/>
                    <a:pt x="7069" y="2160"/>
                  </a:cubicBezTo>
                  <a:cubicBezTo>
                    <a:pt x="6934" y="2031"/>
                    <a:pt x="6826" y="1885"/>
                    <a:pt x="6625" y="1827"/>
                  </a:cubicBezTo>
                  <a:cubicBezTo>
                    <a:pt x="6496" y="1789"/>
                    <a:pt x="6385" y="1835"/>
                    <a:pt x="6234" y="1917"/>
                  </a:cubicBezTo>
                  <a:close/>
                  <a:moveTo>
                    <a:pt x="3846" y="3139"/>
                  </a:moveTo>
                  <a:cubicBezTo>
                    <a:pt x="3756" y="3178"/>
                    <a:pt x="3716" y="3256"/>
                    <a:pt x="3669" y="3371"/>
                  </a:cubicBezTo>
                  <a:cubicBezTo>
                    <a:pt x="3786" y="3416"/>
                    <a:pt x="3870" y="3439"/>
                    <a:pt x="3960" y="3400"/>
                  </a:cubicBezTo>
                  <a:cubicBezTo>
                    <a:pt x="4099" y="3339"/>
                    <a:pt x="4163" y="3224"/>
                    <a:pt x="4247" y="3119"/>
                  </a:cubicBezTo>
                  <a:cubicBezTo>
                    <a:pt x="4113" y="3109"/>
                    <a:pt x="3985" y="3078"/>
                    <a:pt x="3846" y="3139"/>
                  </a:cubicBezTo>
                  <a:close/>
                  <a:moveTo>
                    <a:pt x="4080" y="2915"/>
                  </a:moveTo>
                  <a:cubicBezTo>
                    <a:pt x="4222" y="2765"/>
                    <a:pt x="4241" y="2587"/>
                    <a:pt x="4292" y="2410"/>
                  </a:cubicBezTo>
                  <a:cubicBezTo>
                    <a:pt x="4118" y="2470"/>
                    <a:pt x="3940" y="2499"/>
                    <a:pt x="3799" y="2649"/>
                  </a:cubicBezTo>
                  <a:cubicBezTo>
                    <a:pt x="3707" y="2746"/>
                    <a:pt x="3697" y="2864"/>
                    <a:pt x="3701" y="3034"/>
                  </a:cubicBezTo>
                  <a:cubicBezTo>
                    <a:pt x="3871" y="3028"/>
                    <a:pt x="3989" y="3012"/>
                    <a:pt x="4080" y="2915"/>
                  </a:cubicBezTo>
                  <a:close/>
                  <a:moveTo>
                    <a:pt x="3389" y="3282"/>
                  </a:moveTo>
                  <a:cubicBezTo>
                    <a:pt x="3420" y="3101"/>
                    <a:pt x="3428" y="2972"/>
                    <a:pt x="3345" y="2854"/>
                  </a:cubicBezTo>
                  <a:cubicBezTo>
                    <a:pt x="3217" y="2671"/>
                    <a:pt x="3033" y="2613"/>
                    <a:pt x="2856" y="2521"/>
                  </a:cubicBezTo>
                  <a:cubicBezTo>
                    <a:pt x="2882" y="2719"/>
                    <a:pt x="2874" y="2912"/>
                    <a:pt x="3002" y="3095"/>
                  </a:cubicBezTo>
                  <a:cubicBezTo>
                    <a:pt x="3084" y="3213"/>
                    <a:pt x="3209" y="3249"/>
                    <a:pt x="3389" y="3282"/>
                  </a:cubicBezTo>
                  <a:close/>
                  <a:moveTo>
                    <a:pt x="4701" y="1710"/>
                  </a:moveTo>
                  <a:cubicBezTo>
                    <a:pt x="4677" y="1538"/>
                    <a:pt x="4648" y="1420"/>
                    <a:pt x="4540" y="1337"/>
                  </a:cubicBezTo>
                  <a:cubicBezTo>
                    <a:pt x="4373" y="1209"/>
                    <a:pt x="4189" y="1209"/>
                    <a:pt x="4004" y="1176"/>
                  </a:cubicBezTo>
                  <a:cubicBezTo>
                    <a:pt x="4084" y="1347"/>
                    <a:pt x="4132" y="1524"/>
                    <a:pt x="4299" y="1652"/>
                  </a:cubicBezTo>
                  <a:cubicBezTo>
                    <a:pt x="4407" y="1734"/>
                    <a:pt x="4530" y="1731"/>
                    <a:pt x="4701" y="1710"/>
                  </a:cubicBezTo>
                  <a:close/>
                  <a:moveTo>
                    <a:pt x="1118" y="11995"/>
                  </a:moveTo>
                  <a:lnTo>
                    <a:pt x="5407" y="11995"/>
                  </a:lnTo>
                  <a:lnTo>
                    <a:pt x="5407" y="11572"/>
                  </a:lnTo>
                  <a:lnTo>
                    <a:pt x="1118" y="11572"/>
                  </a:lnTo>
                  <a:lnTo>
                    <a:pt x="1118" y="11995"/>
                  </a:lnTo>
                  <a:close/>
                </a:path>
              </a:pathLst>
            </a:custGeom>
            <a:solidFill>
              <a:srgbClr val="EFE6FF"/>
            </a:solidFill>
            <a:ln w="9525">
              <a:no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27" name="Oval 26">
              <a:extLst>
                <a:ext uri="{FF2B5EF4-FFF2-40B4-BE49-F238E27FC236}">
                  <a16:creationId xmlns:a16="http://schemas.microsoft.com/office/drawing/2014/main" id="{B4B11646-5A5A-4C23-B66C-E06362EB25EC}"/>
                </a:ext>
              </a:extLst>
            </p:cNvPr>
            <p:cNvSpPr>
              <a:spLocks noChangeAspect="1"/>
            </p:cNvSpPr>
            <p:nvPr/>
          </p:nvSpPr>
          <p:spPr>
            <a:xfrm>
              <a:off x="9781425" y="2192424"/>
              <a:ext cx="624548" cy="624548"/>
            </a:xfrm>
            <a:prstGeom prst="ellipse">
              <a:avLst/>
            </a:prstGeom>
            <a:solidFill>
              <a:schemeClr val="bg1"/>
            </a:solidFill>
            <a:ln w="38100">
              <a:solidFill>
                <a:srgbClr val="EFE6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algn="ctr"/>
              <a:r>
                <a:rPr lang="nb-NO" sz="2456" b="1">
                  <a:solidFill>
                    <a:schemeClr val="accent1"/>
                  </a:solidFill>
                </a:rPr>
                <a:t>5</a:t>
              </a:r>
            </a:p>
          </p:txBody>
        </p:sp>
      </p:grpSp>
      <p:sp>
        <p:nvSpPr>
          <p:cNvPr id="29" name="Rounded Rectangle 7">
            <a:extLst>
              <a:ext uri="{FF2B5EF4-FFF2-40B4-BE49-F238E27FC236}">
                <a16:creationId xmlns:a16="http://schemas.microsoft.com/office/drawing/2014/main" id="{C2F543B6-792B-0092-2162-A9CB603C0FEC}"/>
              </a:ext>
            </a:extLst>
          </p:cNvPr>
          <p:cNvSpPr>
            <a:spLocks/>
          </p:cNvSpPr>
          <p:nvPr/>
        </p:nvSpPr>
        <p:spPr>
          <a:xfrm>
            <a:off x="6417427" y="3030747"/>
            <a:ext cx="2005541" cy="2253506"/>
          </a:xfrm>
          <a:prstGeom prst="roundRect">
            <a:avLst>
              <a:gd name="adj" fmla="val 13052"/>
            </a:avLst>
          </a:prstGeom>
          <a:noFill/>
          <a:ln w="12700">
            <a:solidFill>
              <a:srgbClr val="FFCEF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5" tIns="252600" rIns="31575" bIns="40100" numCol="1" spcCol="0" rtlCol="0" fromWordArt="0" anchor="t" anchorCtr="0" forceAA="0" compatLnSpc="1">
            <a:prstTxWarp prst="textNoShape">
              <a:avLst/>
            </a:prstTxWarp>
            <a:noAutofit/>
          </a:bodyPr>
          <a:lstStyle/>
          <a:p>
            <a:pPr algn="ctr"/>
            <a:r>
              <a:rPr lang="nb-NO" sz="965" b="1" dirty="0">
                <a:solidFill>
                  <a:schemeClr val="tx1"/>
                </a:solidFill>
              </a:rPr>
              <a:t>Åpning  </a:t>
            </a:r>
          </a:p>
          <a:p>
            <a:pPr algn="ctr"/>
            <a:endParaRPr lang="nb-NO" sz="965" b="1" dirty="0">
              <a:solidFill>
                <a:schemeClr val="tx1"/>
              </a:solidFill>
            </a:endParaRPr>
          </a:p>
          <a:p>
            <a:pPr marL="250631" indent="-250631">
              <a:buFont typeface="Arial" panose="020B0604020202020204" pitchFamily="34" charset="0"/>
              <a:buChar char="•"/>
            </a:pPr>
            <a:r>
              <a:rPr lang="nb-NO" sz="965" dirty="0">
                <a:solidFill>
                  <a:schemeClr val="tx1"/>
                </a:solidFill>
              </a:rPr>
              <a:t>Mottak og feiring</a:t>
            </a:r>
          </a:p>
          <a:p>
            <a:pPr marL="250631" indent="-250631">
              <a:buFont typeface="Arial" panose="020B0604020202020204" pitchFamily="34" charset="0"/>
              <a:buChar char="•"/>
            </a:pPr>
            <a:r>
              <a:rPr lang="nb-NO" sz="965" dirty="0">
                <a:solidFill>
                  <a:schemeClr val="tx1"/>
                </a:solidFill>
              </a:rPr>
              <a:t>Support og opplæring</a:t>
            </a:r>
          </a:p>
        </p:txBody>
      </p:sp>
      <p:grpSp>
        <p:nvGrpSpPr>
          <p:cNvPr id="30" name="Group 29">
            <a:extLst>
              <a:ext uri="{FF2B5EF4-FFF2-40B4-BE49-F238E27FC236}">
                <a16:creationId xmlns:a16="http://schemas.microsoft.com/office/drawing/2014/main" id="{9F59F44C-A319-F513-F9A2-3D22582E5C31}"/>
              </a:ext>
            </a:extLst>
          </p:cNvPr>
          <p:cNvGrpSpPr/>
          <p:nvPr/>
        </p:nvGrpSpPr>
        <p:grpSpPr>
          <a:xfrm>
            <a:off x="7158519" y="1598274"/>
            <a:ext cx="812272" cy="1643498"/>
            <a:chOff x="6916797" y="956115"/>
            <a:chExt cx="926106" cy="1873822"/>
          </a:xfrm>
        </p:grpSpPr>
        <p:sp>
          <p:nvSpPr>
            <p:cNvPr id="31" name="Tree16" descr="{&quot;Key&quot;:&quot;POWER_USER_SHAPE_ICON&quot;,&quot;Value&quot;:&quot;POWER_USER_SHAPE_ICON_STYLE_1&quot;}">
              <a:extLst>
                <a:ext uri="{FF2B5EF4-FFF2-40B4-BE49-F238E27FC236}">
                  <a16:creationId xmlns:a16="http://schemas.microsoft.com/office/drawing/2014/main" id="{F9EF3EDD-6F3A-64D1-9952-609A0C0F7F28}"/>
                </a:ext>
              </a:extLst>
            </p:cNvPr>
            <p:cNvSpPr>
              <a:spLocks noEditPoints="1"/>
            </p:cNvSpPr>
            <p:nvPr>
              <p:custDataLst>
                <p:tags r:id="rId1"/>
              </p:custDataLst>
            </p:nvPr>
          </p:nvSpPr>
          <p:spPr bwMode="auto">
            <a:xfrm>
              <a:off x="6916797" y="956115"/>
              <a:ext cx="628650" cy="1004888"/>
            </a:xfrm>
            <a:custGeom>
              <a:avLst/>
              <a:gdLst>
                <a:gd name="T0" fmla="*/ 4475 w 6099"/>
                <a:gd name="T1" fmla="*/ 4769 h 9759"/>
                <a:gd name="T2" fmla="*/ 4299 w 6099"/>
                <a:gd name="T3" fmla="*/ 3797 h 9759"/>
                <a:gd name="T4" fmla="*/ 3787 w 6099"/>
                <a:gd name="T5" fmla="*/ 4642 h 9759"/>
                <a:gd name="T6" fmla="*/ 4017 w 6099"/>
                <a:gd name="T7" fmla="*/ 5321 h 9759"/>
                <a:gd name="T8" fmla="*/ 4475 w 6099"/>
                <a:gd name="T9" fmla="*/ 4769 h 9759"/>
                <a:gd name="T10" fmla="*/ 4294 w 6099"/>
                <a:gd name="T11" fmla="*/ 5865 h 9759"/>
                <a:gd name="T12" fmla="*/ 4840 w 6099"/>
                <a:gd name="T13" fmla="*/ 6330 h 9759"/>
                <a:gd name="T14" fmla="*/ 5814 w 6099"/>
                <a:gd name="T15" fmla="*/ 6167 h 9759"/>
                <a:gd name="T16" fmla="*/ 4976 w 6099"/>
                <a:gd name="T17" fmla="*/ 5644 h 9759"/>
                <a:gd name="T18" fmla="*/ 4294 w 6099"/>
                <a:gd name="T19" fmla="*/ 5865 h 9759"/>
                <a:gd name="T20" fmla="*/ 4460 w 6099"/>
                <a:gd name="T21" fmla="*/ 2245 h 9759"/>
                <a:gd name="T22" fmla="*/ 4775 w 6099"/>
                <a:gd name="T23" fmla="*/ 1308 h 9759"/>
                <a:gd name="T24" fmla="*/ 3919 w 6099"/>
                <a:gd name="T25" fmla="*/ 1802 h 9759"/>
                <a:gd name="T26" fmla="*/ 3793 w 6099"/>
                <a:gd name="T27" fmla="*/ 2508 h 9759"/>
                <a:gd name="T28" fmla="*/ 4460 w 6099"/>
                <a:gd name="T29" fmla="*/ 2245 h 9759"/>
                <a:gd name="T30" fmla="*/ 853 w 6099"/>
                <a:gd name="T31" fmla="*/ 3603 h 9759"/>
                <a:gd name="T32" fmla="*/ 1461 w 6099"/>
                <a:gd name="T33" fmla="*/ 3505 h 9759"/>
                <a:gd name="T34" fmla="*/ 1059 w 6099"/>
                <a:gd name="T35" fmla="*/ 3038 h 9759"/>
                <a:gd name="T36" fmla="*/ 210 w 6099"/>
                <a:gd name="T37" fmla="*/ 3047 h 9759"/>
                <a:gd name="T38" fmla="*/ 853 w 6099"/>
                <a:gd name="T39" fmla="*/ 3603 h 9759"/>
                <a:gd name="T40" fmla="*/ 2433 w 6099"/>
                <a:gd name="T41" fmla="*/ 4843 h 9759"/>
                <a:gd name="T42" fmla="*/ 2220 w 6099"/>
                <a:gd name="T43" fmla="*/ 5155 h 9759"/>
                <a:gd name="T44" fmla="*/ 1415 w 6099"/>
                <a:gd name="T45" fmla="*/ 7476 h 9759"/>
                <a:gd name="T46" fmla="*/ 1661 w 6099"/>
                <a:gd name="T47" fmla="*/ 9046 h 9759"/>
                <a:gd name="T48" fmla="*/ 2666 w 6099"/>
                <a:gd name="T49" fmla="*/ 9046 h 9759"/>
                <a:gd name="T50" fmla="*/ 2274 w 6099"/>
                <a:gd name="T51" fmla="*/ 6389 h 9759"/>
                <a:gd name="T52" fmla="*/ 4874 w 6099"/>
                <a:gd name="T53" fmla="*/ 5159 h 9759"/>
                <a:gd name="T54" fmla="*/ 5761 w 6099"/>
                <a:gd name="T55" fmla="*/ 4796 h 9759"/>
                <a:gd name="T56" fmla="*/ 6075 w 6099"/>
                <a:gd name="T57" fmla="*/ 3321 h 9759"/>
                <a:gd name="T58" fmla="*/ 4984 w 6099"/>
                <a:gd name="T59" fmla="*/ 4170 h 9759"/>
                <a:gd name="T60" fmla="*/ 4790 w 6099"/>
                <a:gd name="T61" fmla="*/ 5025 h 9759"/>
                <a:gd name="T62" fmla="*/ 2468 w 6099"/>
                <a:gd name="T63" fmla="*/ 5804 h 9759"/>
                <a:gd name="T64" fmla="*/ 2664 w 6099"/>
                <a:gd name="T65" fmla="*/ 5393 h 9759"/>
                <a:gd name="T66" fmla="*/ 3554 w 6099"/>
                <a:gd name="T67" fmla="*/ 3216 h 9759"/>
                <a:gd name="T68" fmla="*/ 3566 w 6099"/>
                <a:gd name="T69" fmla="*/ 1986 h 9759"/>
                <a:gd name="T70" fmla="*/ 3702 w 6099"/>
                <a:gd name="T71" fmla="*/ 1040 h 9759"/>
                <a:gd name="T72" fmla="*/ 2799 w 6099"/>
                <a:gd name="T73" fmla="*/ 0 h 9759"/>
                <a:gd name="T74" fmla="*/ 2788 w 6099"/>
                <a:gd name="T75" fmla="*/ 1378 h 9759"/>
                <a:gd name="T76" fmla="*/ 3456 w 6099"/>
                <a:gd name="T77" fmla="*/ 1984 h 9759"/>
                <a:gd name="T78" fmla="*/ 2616 w 6099"/>
                <a:gd name="T79" fmla="*/ 4560 h 9759"/>
                <a:gd name="T80" fmla="*/ 1665 w 6099"/>
                <a:gd name="T81" fmla="*/ 3327 h 9759"/>
                <a:gd name="T82" fmla="*/ 2014 w 6099"/>
                <a:gd name="T83" fmla="*/ 2756 h 9759"/>
                <a:gd name="T84" fmla="*/ 1718 w 6099"/>
                <a:gd name="T85" fmla="*/ 1787 h 9759"/>
                <a:gd name="T86" fmla="*/ 1299 w 6099"/>
                <a:gd name="T87" fmla="*/ 2709 h 9759"/>
                <a:gd name="T88" fmla="*/ 1571 w 6099"/>
                <a:gd name="T89" fmla="*/ 3321 h 9759"/>
                <a:gd name="T90" fmla="*/ 2433 w 6099"/>
                <a:gd name="T91" fmla="*/ 4843 h 9759"/>
                <a:gd name="T92" fmla="*/ 0 w 6099"/>
                <a:gd name="T93" fmla="*/ 9759 h 9759"/>
                <a:gd name="T94" fmla="*/ 4288 w 6099"/>
                <a:gd name="T95" fmla="*/ 9759 h 9759"/>
                <a:gd name="T96" fmla="*/ 4288 w 6099"/>
                <a:gd name="T97" fmla="*/ 9336 h 9759"/>
                <a:gd name="T98" fmla="*/ 0 w 6099"/>
                <a:gd name="T99" fmla="*/ 9336 h 9759"/>
                <a:gd name="T100" fmla="*/ 0 w 6099"/>
                <a:gd name="T101" fmla="*/ 9759 h 9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99" h="9759">
                  <a:moveTo>
                    <a:pt x="4475" y="4769"/>
                  </a:moveTo>
                  <a:cubicBezTo>
                    <a:pt x="4542" y="4403"/>
                    <a:pt x="4397" y="4115"/>
                    <a:pt x="4299" y="3797"/>
                  </a:cubicBezTo>
                  <a:cubicBezTo>
                    <a:pt x="4095" y="4059"/>
                    <a:pt x="3855" y="4276"/>
                    <a:pt x="3787" y="4642"/>
                  </a:cubicBezTo>
                  <a:cubicBezTo>
                    <a:pt x="3744" y="4879"/>
                    <a:pt x="3846" y="5068"/>
                    <a:pt x="4017" y="5321"/>
                  </a:cubicBezTo>
                  <a:cubicBezTo>
                    <a:pt x="4268" y="5146"/>
                    <a:pt x="4431" y="5006"/>
                    <a:pt x="4475" y="4769"/>
                  </a:cubicBezTo>
                  <a:close/>
                  <a:moveTo>
                    <a:pt x="4294" y="5865"/>
                  </a:moveTo>
                  <a:cubicBezTo>
                    <a:pt x="4466" y="6118"/>
                    <a:pt x="4604" y="6283"/>
                    <a:pt x="4840" y="6330"/>
                  </a:cubicBezTo>
                  <a:cubicBezTo>
                    <a:pt x="5205" y="6402"/>
                    <a:pt x="5495" y="6260"/>
                    <a:pt x="5814" y="6167"/>
                  </a:cubicBezTo>
                  <a:cubicBezTo>
                    <a:pt x="5555" y="5959"/>
                    <a:pt x="5341" y="5717"/>
                    <a:pt x="4976" y="5644"/>
                  </a:cubicBezTo>
                  <a:cubicBezTo>
                    <a:pt x="4741" y="5597"/>
                    <a:pt x="4550" y="5696"/>
                    <a:pt x="4294" y="5865"/>
                  </a:cubicBezTo>
                  <a:close/>
                  <a:moveTo>
                    <a:pt x="4460" y="2245"/>
                  </a:moveTo>
                  <a:cubicBezTo>
                    <a:pt x="4696" y="1957"/>
                    <a:pt x="4707" y="1634"/>
                    <a:pt x="4775" y="1308"/>
                  </a:cubicBezTo>
                  <a:cubicBezTo>
                    <a:pt x="4470" y="1440"/>
                    <a:pt x="4155" y="1514"/>
                    <a:pt x="3919" y="1802"/>
                  </a:cubicBezTo>
                  <a:cubicBezTo>
                    <a:pt x="3767" y="1988"/>
                    <a:pt x="3765" y="2203"/>
                    <a:pt x="3793" y="2508"/>
                  </a:cubicBezTo>
                  <a:cubicBezTo>
                    <a:pt x="4098" y="2475"/>
                    <a:pt x="4308" y="2431"/>
                    <a:pt x="4460" y="2245"/>
                  </a:cubicBezTo>
                  <a:close/>
                  <a:moveTo>
                    <a:pt x="853" y="3603"/>
                  </a:moveTo>
                  <a:cubicBezTo>
                    <a:pt x="1046" y="3673"/>
                    <a:pt x="1222" y="3614"/>
                    <a:pt x="1461" y="3505"/>
                  </a:cubicBezTo>
                  <a:cubicBezTo>
                    <a:pt x="1349" y="3268"/>
                    <a:pt x="1253" y="3109"/>
                    <a:pt x="1059" y="3038"/>
                  </a:cubicBezTo>
                  <a:cubicBezTo>
                    <a:pt x="759" y="2928"/>
                    <a:pt x="494" y="3010"/>
                    <a:pt x="210" y="3047"/>
                  </a:cubicBezTo>
                  <a:cubicBezTo>
                    <a:pt x="403" y="3258"/>
                    <a:pt x="552" y="3492"/>
                    <a:pt x="853" y="3603"/>
                  </a:cubicBezTo>
                  <a:close/>
                  <a:moveTo>
                    <a:pt x="2433" y="4843"/>
                  </a:moveTo>
                  <a:cubicBezTo>
                    <a:pt x="2363" y="4948"/>
                    <a:pt x="2292" y="5053"/>
                    <a:pt x="2220" y="5155"/>
                  </a:cubicBezTo>
                  <a:cubicBezTo>
                    <a:pt x="1810" y="5817"/>
                    <a:pt x="1441" y="6604"/>
                    <a:pt x="1415" y="7476"/>
                  </a:cubicBezTo>
                  <a:cubicBezTo>
                    <a:pt x="1392" y="8018"/>
                    <a:pt x="1493" y="8547"/>
                    <a:pt x="1661" y="9046"/>
                  </a:cubicBezTo>
                  <a:lnTo>
                    <a:pt x="2666" y="9046"/>
                  </a:lnTo>
                  <a:cubicBezTo>
                    <a:pt x="2200" y="8223"/>
                    <a:pt x="2053" y="7305"/>
                    <a:pt x="2274" y="6389"/>
                  </a:cubicBezTo>
                  <a:cubicBezTo>
                    <a:pt x="3291" y="6301"/>
                    <a:pt x="4184" y="5817"/>
                    <a:pt x="4874" y="5159"/>
                  </a:cubicBezTo>
                  <a:cubicBezTo>
                    <a:pt x="5291" y="5199"/>
                    <a:pt x="5558" y="5039"/>
                    <a:pt x="5761" y="4796"/>
                  </a:cubicBezTo>
                  <a:cubicBezTo>
                    <a:pt x="6094" y="4398"/>
                    <a:pt x="6099" y="3832"/>
                    <a:pt x="6075" y="3321"/>
                  </a:cubicBezTo>
                  <a:cubicBezTo>
                    <a:pt x="5712" y="3802"/>
                    <a:pt x="5317" y="3772"/>
                    <a:pt x="4984" y="4170"/>
                  </a:cubicBezTo>
                  <a:cubicBezTo>
                    <a:pt x="4792" y="4400"/>
                    <a:pt x="4767" y="4666"/>
                    <a:pt x="4790" y="5025"/>
                  </a:cubicBezTo>
                  <a:cubicBezTo>
                    <a:pt x="4086" y="5516"/>
                    <a:pt x="3275" y="5812"/>
                    <a:pt x="2468" y="5804"/>
                  </a:cubicBezTo>
                  <a:cubicBezTo>
                    <a:pt x="2525" y="5667"/>
                    <a:pt x="2589" y="5529"/>
                    <a:pt x="2664" y="5393"/>
                  </a:cubicBezTo>
                  <a:cubicBezTo>
                    <a:pt x="2983" y="4706"/>
                    <a:pt x="3390" y="4007"/>
                    <a:pt x="3554" y="3216"/>
                  </a:cubicBezTo>
                  <a:cubicBezTo>
                    <a:pt x="3644" y="2806"/>
                    <a:pt x="3639" y="2388"/>
                    <a:pt x="3566" y="1986"/>
                  </a:cubicBezTo>
                  <a:cubicBezTo>
                    <a:pt x="3729" y="1619"/>
                    <a:pt x="3814" y="1343"/>
                    <a:pt x="3702" y="1040"/>
                  </a:cubicBezTo>
                  <a:cubicBezTo>
                    <a:pt x="3522" y="554"/>
                    <a:pt x="3142" y="312"/>
                    <a:pt x="2799" y="0"/>
                  </a:cubicBezTo>
                  <a:cubicBezTo>
                    <a:pt x="2740" y="461"/>
                    <a:pt x="2608" y="891"/>
                    <a:pt x="2788" y="1378"/>
                  </a:cubicBezTo>
                  <a:cubicBezTo>
                    <a:pt x="2894" y="1666"/>
                    <a:pt x="3121" y="1820"/>
                    <a:pt x="3456" y="1984"/>
                  </a:cubicBezTo>
                  <a:cubicBezTo>
                    <a:pt x="3500" y="2889"/>
                    <a:pt x="3115" y="3758"/>
                    <a:pt x="2616" y="4560"/>
                  </a:cubicBezTo>
                  <a:cubicBezTo>
                    <a:pt x="2167" y="4296"/>
                    <a:pt x="1815" y="3851"/>
                    <a:pt x="1665" y="3327"/>
                  </a:cubicBezTo>
                  <a:cubicBezTo>
                    <a:pt x="1869" y="3140"/>
                    <a:pt x="1999" y="2983"/>
                    <a:pt x="2014" y="2756"/>
                  </a:cubicBezTo>
                  <a:cubicBezTo>
                    <a:pt x="2039" y="2375"/>
                    <a:pt x="1855" y="2099"/>
                    <a:pt x="1718" y="1787"/>
                  </a:cubicBezTo>
                  <a:cubicBezTo>
                    <a:pt x="1541" y="2079"/>
                    <a:pt x="1324" y="2329"/>
                    <a:pt x="1299" y="2709"/>
                  </a:cubicBezTo>
                  <a:cubicBezTo>
                    <a:pt x="1284" y="2937"/>
                    <a:pt x="1392" y="3109"/>
                    <a:pt x="1571" y="3321"/>
                  </a:cubicBezTo>
                  <a:cubicBezTo>
                    <a:pt x="1643" y="3899"/>
                    <a:pt x="1952" y="4461"/>
                    <a:pt x="2433" y="4843"/>
                  </a:cubicBezTo>
                  <a:close/>
                  <a:moveTo>
                    <a:pt x="0" y="9759"/>
                  </a:moveTo>
                  <a:lnTo>
                    <a:pt x="4288" y="9759"/>
                  </a:lnTo>
                  <a:lnTo>
                    <a:pt x="4288" y="9336"/>
                  </a:lnTo>
                  <a:lnTo>
                    <a:pt x="0" y="9336"/>
                  </a:lnTo>
                  <a:lnTo>
                    <a:pt x="0" y="9759"/>
                  </a:lnTo>
                  <a:close/>
                </a:path>
              </a:pathLst>
            </a:custGeom>
            <a:solidFill>
              <a:srgbClr val="FFCEF0"/>
            </a:solidFill>
            <a:ln w="9525">
              <a:solidFill>
                <a:srgbClr val="FFCEF0"/>
              </a:solid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32" name="Tree17" descr="{&quot;Key&quot;:&quot;POWER_USER_SHAPE_ICON&quot;,&quot;Value&quot;:&quot;POWER_USER_SHAPE_ICON_STYLE_1&quot;}">
              <a:extLst>
                <a:ext uri="{FF2B5EF4-FFF2-40B4-BE49-F238E27FC236}">
                  <a16:creationId xmlns:a16="http://schemas.microsoft.com/office/drawing/2014/main" id="{C00965F3-70EC-1C13-38C3-549A280EF86B}"/>
                </a:ext>
              </a:extLst>
            </p:cNvPr>
            <p:cNvSpPr>
              <a:spLocks noEditPoints="1"/>
            </p:cNvSpPr>
            <p:nvPr>
              <p:custDataLst>
                <p:tags r:id="rId2"/>
              </p:custDataLst>
            </p:nvPr>
          </p:nvSpPr>
          <p:spPr bwMode="auto">
            <a:xfrm>
              <a:off x="7488523" y="1242876"/>
              <a:ext cx="354380" cy="624548"/>
            </a:xfrm>
            <a:custGeom>
              <a:avLst/>
              <a:gdLst>
                <a:gd name="T0" fmla="*/ 5043 w 7325"/>
                <a:gd name="T1" fmla="*/ 3609 h 10403"/>
                <a:gd name="T2" fmla="*/ 5565 w 7325"/>
                <a:gd name="T3" fmla="*/ 5820 h 10403"/>
                <a:gd name="T4" fmla="*/ 5915 w 7325"/>
                <a:gd name="T5" fmla="*/ 5982 h 10403"/>
                <a:gd name="T6" fmla="*/ 6327 w 7325"/>
                <a:gd name="T7" fmla="*/ 5724 h 10403"/>
                <a:gd name="T8" fmla="*/ 6712 w 7325"/>
                <a:gd name="T9" fmla="*/ 5700 h 10403"/>
                <a:gd name="T10" fmla="*/ 6280 w 7325"/>
                <a:gd name="T11" fmla="*/ 5348 h 10403"/>
                <a:gd name="T12" fmla="*/ 4837 w 7325"/>
                <a:gd name="T13" fmla="*/ 4275 h 10403"/>
                <a:gd name="T14" fmla="*/ 5354 w 7325"/>
                <a:gd name="T15" fmla="*/ 4373 h 10403"/>
                <a:gd name="T16" fmla="*/ 4322 w 7325"/>
                <a:gd name="T17" fmla="*/ 1191 h 10403"/>
                <a:gd name="T18" fmla="*/ 4438 w 7325"/>
                <a:gd name="T19" fmla="*/ 1693 h 10403"/>
                <a:gd name="T20" fmla="*/ 844 w 7325"/>
                <a:gd name="T21" fmla="*/ 3448 h 10403"/>
                <a:gd name="T22" fmla="*/ 603 w 7325"/>
                <a:gd name="T23" fmla="*/ 4937 h 10403"/>
                <a:gd name="T24" fmla="*/ 0 w 7325"/>
                <a:gd name="T25" fmla="*/ 4924 h 10403"/>
                <a:gd name="T26" fmla="*/ 1325 w 7325"/>
                <a:gd name="T27" fmla="*/ 4392 h 10403"/>
                <a:gd name="T28" fmla="*/ 1010 w 7325"/>
                <a:gd name="T29" fmla="*/ 4322 h 10403"/>
                <a:gd name="T30" fmla="*/ 4699 w 7325"/>
                <a:gd name="T31" fmla="*/ 1135 h 10403"/>
                <a:gd name="T32" fmla="*/ 4810 w 7325"/>
                <a:gd name="T33" fmla="*/ 2000 h 10403"/>
                <a:gd name="T34" fmla="*/ 5300 w 7325"/>
                <a:gd name="T35" fmla="*/ 2194 h 10403"/>
                <a:gd name="T36" fmla="*/ 6967 w 7325"/>
                <a:gd name="T37" fmla="*/ 5431 h 10403"/>
                <a:gd name="T38" fmla="*/ 6462 w 7325"/>
                <a:gd name="T39" fmla="*/ 5477 h 10403"/>
                <a:gd name="T40" fmla="*/ 6300 w 7325"/>
                <a:gd name="T41" fmla="*/ 4466 h 10403"/>
                <a:gd name="T42" fmla="*/ 5727 w 7325"/>
                <a:gd name="T43" fmla="*/ 4620 h 10403"/>
                <a:gd name="T44" fmla="*/ 5454 w 7325"/>
                <a:gd name="T45" fmla="*/ 3974 h 10403"/>
                <a:gd name="T46" fmla="*/ 5102 w 7325"/>
                <a:gd name="T47" fmla="*/ 3859 h 10403"/>
                <a:gd name="T48" fmla="*/ 2782 w 7325"/>
                <a:gd name="T49" fmla="*/ 5458 h 10403"/>
                <a:gd name="T50" fmla="*/ 3697 w 7325"/>
                <a:gd name="T51" fmla="*/ 3363 h 10403"/>
                <a:gd name="T52" fmla="*/ 5473 w 7325"/>
                <a:gd name="T53" fmla="*/ 1821 h 10403"/>
                <a:gd name="T54" fmla="*/ 5149 w 7325"/>
                <a:gd name="T55" fmla="*/ 1642 h 10403"/>
                <a:gd name="T56" fmla="*/ 3897 w 7325"/>
                <a:gd name="T57" fmla="*/ 850 h 10403"/>
                <a:gd name="T58" fmla="*/ 3670 w 7325"/>
                <a:gd name="T59" fmla="*/ 1607 h 10403"/>
                <a:gd name="T60" fmla="*/ 1936 w 7325"/>
                <a:gd name="T61" fmla="*/ 3795 h 10403"/>
                <a:gd name="T62" fmla="*/ 2297 w 7325"/>
                <a:gd name="T63" fmla="*/ 1330 h 10403"/>
                <a:gd name="T64" fmla="*/ 1811 w 7325"/>
                <a:gd name="T65" fmla="*/ 3622 h 10403"/>
                <a:gd name="T66" fmla="*/ 1236 w 7325"/>
                <a:gd name="T67" fmla="*/ 734 h 10403"/>
                <a:gd name="T68" fmla="*/ 1977 w 7325"/>
                <a:gd name="T69" fmla="*/ 4305 h 10403"/>
                <a:gd name="T70" fmla="*/ 54 w 7325"/>
                <a:gd name="T71" fmla="*/ 3969 h 10403"/>
                <a:gd name="T72" fmla="*/ 2156 w 7325"/>
                <a:gd name="T73" fmla="*/ 4505 h 10403"/>
                <a:gd name="T74" fmla="*/ 1364 w 7325"/>
                <a:gd name="T75" fmla="*/ 7823 h 10403"/>
                <a:gd name="T76" fmla="*/ 2340 w 7325"/>
                <a:gd name="T77" fmla="*/ 6589 h 10403"/>
                <a:gd name="T78" fmla="*/ 2708 w 7325"/>
                <a:gd name="T79" fmla="*/ 3114 h 10403"/>
                <a:gd name="T80" fmla="*/ 3230 w 7325"/>
                <a:gd name="T81" fmla="*/ 3219 h 10403"/>
                <a:gd name="T82" fmla="*/ 2662 w 7325"/>
                <a:gd name="T83" fmla="*/ 2630 h 10403"/>
                <a:gd name="T84" fmla="*/ 2813 w 7325"/>
                <a:gd name="T85" fmla="*/ 2276 h 10403"/>
                <a:gd name="T86" fmla="*/ 1891 w 7325"/>
                <a:gd name="T87" fmla="*/ 2170 h 10403"/>
                <a:gd name="T88" fmla="*/ 230 w 7325"/>
                <a:gd name="T89" fmla="*/ 1933 h 10403"/>
                <a:gd name="T90" fmla="*/ 884 w 7325"/>
                <a:gd name="T91" fmla="*/ 2233 h 10403"/>
                <a:gd name="T92" fmla="*/ 4472 w 7325"/>
                <a:gd name="T93" fmla="*/ 10403 h 10403"/>
                <a:gd name="T94" fmla="*/ 184 w 7325"/>
                <a:gd name="T95" fmla="*/ 10403 h 10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25" h="10403">
                  <a:moveTo>
                    <a:pt x="4564" y="3446"/>
                  </a:moveTo>
                  <a:cubicBezTo>
                    <a:pt x="4508" y="3611"/>
                    <a:pt x="4561" y="3757"/>
                    <a:pt x="4658" y="3956"/>
                  </a:cubicBezTo>
                  <a:cubicBezTo>
                    <a:pt x="4855" y="3857"/>
                    <a:pt x="4987" y="3774"/>
                    <a:pt x="5043" y="3609"/>
                  </a:cubicBezTo>
                  <a:cubicBezTo>
                    <a:pt x="5129" y="3354"/>
                    <a:pt x="5055" y="3133"/>
                    <a:pt x="5019" y="2895"/>
                  </a:cubicBezTo>
                  <a:cubicBezTo>
                    <a:pt x="4845" y="3062"/>
                    <a:pt x="4651" y="3192"/>
                    <a:pt x="4564" y="3446"/>
                  </a:cubicBezTo>
                  <a:close/>
                  <a:moveTo>
                    <a:pt x="5565" y="5820"/>
                  </a:moveTo>
                  <a:cubicBezTo>
                    <a:pt x="5540" y="5983"/>
                    <a:pt x="5535" y="6099"/>
                    <a:pt x="5611" y="6204"/>
                  </a:cubicBezTo>
                  <a:cubicBezTo>
                    <a:pt x="5729" y="6366"/>
                    <a:pt x="5895" y="6415"/>
                    <a:pt x="6055" y="6495"/>
                  </a:cubicBezTo>
                  <a:cubicBezTo>
                    <a:pt x="6029" y="6318"/>
                    <a:pt x="6033" y="6144"/>
                    <a:pt x="5915" y="5982"/>
                  </a:cubicBezTo>
                  <a:cubicBezTo>
                    <a:pt x="5839" y="5878"/>
                    <a:pt x="5727" y="5847"/>
                    <a:pt x="5565" y="5820"/>
                  </a:cubicBezTo>
                  <a:close/>
                  <a:moveTo>
                    <a:pt x="6712" y="5700"/>
                  </a:moveTo>
                  <a:cubicBezTo>
                    <a:pt x="6595" y="5644"/>
                    <a:pt x="6482" y="5670"/>
                    <a:pt x="6327" y="5724"/>
                  </a:cubicBezTo>
                  <a:cubicBezTo>
                    <a:pt x="6382" y="5879"/>
                    <a:pt x="6432" y="5983"/>
                    <a:pt x="6549" y="6039"/>
                  </a:cubicBezTo>
                  <a:cubicBezTo>
                    <a:pt x="6730" y="6125"/>
                    <a:pt x="6900" y="6090"/>
                    <a:pt x="7079" y="6084"/>
                  </a:cubicBezTo>
                  <a:cubicBezTo>
                    <a:pt x="6972" y="5941"/>
                    <a:pt x="6892" y="5786"/>
                    <a:pt x="6712" y="5700"/>
                  </a:cubicBezTo>
                  <a:close/>
                  <a:moveTo>
                    <a:pt x="5964" y="5144"/>
                  </a:moveTo>
                  <a:cubicBezTo>
                    <a:pt x="5894" y="5253"/>
                    <a:pt x="5906" y="5368"/>
                    <a:pt x="5939" y="5529"/>
                  </a:cubicBezTo>
                  <a:cubicBezTo>
                    <a:pt x="6100" y="5494"/>
                    <a:pt x="6210" y="5457"/>
                    <a:pt x="6280" y="5348"/>
                  </a:cubicBezTo>
                  <a:cubicBezTo>
                    <a:pt x="6389" y="5180"/>
                    <a:pt x="6375" y="5007"/>
                    <a:pt x="6392" y="4828"/>
                  </a:cubicBezTo>
                  <a:cubicBezTo>
                    <a:pt x="6236" y="4917"/>
                    <a:pt x="6073" y="4976"/>
                    <a:pt x="5964" y="5144"/>
                  </a:cubicBezTo>
                  <a:close/>
                  <a:moveTo>
                    <a:pt x="4837" y="4275"/>
                  </a:moveTo>
                  <a:cubicBezTo>
                    <a:pt x="4711" y="4297"/>
                    <a:pt x="4636" y="4383"/>
                    <a:pt x="4541" y="4516"/>
                  </a:cubicBezTo>
                  <a:cubicBezTo>
                    <a:pt x="4675" y="4609"/>
                    <a:pt x="4776" y="4664"/>
                    <a:pt x="4902" y="4642"/>
                  </a:cubicBezTo>
                  <a:cubicBezTo>
                    <a:pt x="5097" y="4608"/>
                    <a:pt x="5214" y="4481"/>
                    <a:pt x="5354" y="4373"/>
                  </a:cubicBezTo>
                  <a:cubicBezTo>
                    <a:pt x="5186" y="4320"/>
                    <a:pt x="5033" y="4241"/>
                    <a:pt x="4837" y="4275"/>
                  </a:cubicBezTo>
                  <a:close/>
                  <a:moveTo>
                    <a:pt x="4438" y="1693"/>
                  </a:moveTo>
                  <a:cubicBezTo>
                    <a:pt x="4464" y="1501"/>
                    <a:pt x="4380" y="1354"/>
                    <a:pt x="4322" y="1191"/>
                  </a:cubicBezTo>
                  <a:cubicBezTo>
                    <a:pt x="4222" y="1333"/>
                    <a:pt x="4103" y="1452"/>
                    <a:pt x="4077" y="1644"/>
                  </a:cubicBezTo>
                  <a:cubicBezTo>
                    <a:pt x="4060" y="1768"/>
                    <a:pt x="4118" y="1864"/>
                    <a:pt x="4214" y="1992"/>
                  </a:cubicBezTo>
                  <a:cubicBezTo>
                    <a:pt x="4340" y="1894"/>
                    <a:pt x="4421" y="1817"/>
                    <a:pt x="4438" y="1693"/>
                  </a:cubicBezTo>
                  <a:close/>
                  <a:moveTo>
                    <a:pt x="989" y="3052"/>
                  </a:moveTo>
                  <a:cubicBezTo>
                    <a:pt x="778" y="2975"/>
                    <a:pt x="592" y="3032"/>
                    <a:pt x="393" y="3058"/>
                  </a:cubicBezTo>
                  <a:cubicBezTo>
                    <a:pt x="528" y="3207"/>
                    <a:pt x="633" y="3371"/>
                    <a:pt x="844" y="3448"/>
                  </a:cubicBezTo>
                  <a:cubicBezTo>
                    <a:pt x="980" y="3498"/>
                    <a:pt x="1103" y="3457"/>
                    <a:pt x="1271" y="3380"/>
                  </a:cubicBezTo>
                  <a:cubicBezTo>
                    <a:pt x="1193" y="3213"/>
                    <a:pt x="1126" y="3102"/>
                    <a:pt x="989" y="3052"/>
                  </a:cubicBezTo>
                  <a:close/>
                  <a:moveTo>
                    <a:pt x="603" y="4937"/>
                  </a:moveTo>
                  <a:cubicBezTo>
                    <a:pt x="742" y="4888"/>
                    <a:pt x="811" y="4776"/>
                    <a:pt x="892" y="4608"/>
                  </a:cubicBezTo>
                  <a:cubicBezTo>
                    <a:pt x="723" y="4529"/>
                    <a:pt x="599" y="4486"/>
                    <a:pt x="461" y="4534"/>
                  </a:cubicBezTo>
                  <a:cubicBezTo>
                    <a:pt x="246" y="4610"/>
                    <a:pt x="138" y="4775"/>
                    <a:pt x="0" y="4924"/>
                  </a:cubicBezTo>
                  <a:cubicBezTo>
                    <a:pt x="201" y="4952"/>
                    <a:pt x="389" y="5013"/>
                    <a:pt x="603" y="4937"/>
                  </a:cubicBezTo>
                  <a:close/>
                  <a:moveTo>
                    <a:pt x="1010" y="4322"/>
                  </a:moveTo>
                  <a:cubicBezTo>
                    <a:pt x="1091" y="4394"/>
                    <a:pt x="1187" y="4399"/>
                    <a:pt x="1325" y="4392"/>
                  </a:cubicBezTo>
                  <a:cubicBezTo>
                    <a:pt x="1316" y="4255"/>
                    <a:pt x="1300" y="4159"/>
                    <a:pt x="1219" y="4087"/>
                  </a:cubicBezTo>
                  <a:cubicBezTo>
                    <a:pt x="1094" y="3976"/>
                    <a:pt x="949" y="3965"/>
                    <a:pt x="804" y="3927"/>
                  </a:cubicBezTo>
                  <a:cubicBezTo>
                    <a:pt x="857" y="4067"/>
                    <a:pt x="885" y="4210"/>
                    <a:pt x="1010" y="4322"/>
                  </a:cubicBezTo>
                  <a:close/>
                  <a:moveTo>
                    <a:pt x="5138" y="1385"/>
                  </a:moveTo>
                  <a:cubicBezTo>
                    <a:pt x="5271" y="1152"/>
                    <a:pt x="5240" y="920"/>
                    <a:pt x="5249" y="680"/>
                  </a:cubicBezTo>
                  <a:cubicBezTo>
                    <a:pt x="5047" y="810"/>
                    <a:pt x="4832" y="901"/>
                    <a:pt x="4699" y="1135"/>
                  </a:cubicBezTo>
                  <a:cubicBezTo>
                    <a:pt x="4613" y="1286"/>
                    <a:pt x="4637" y="1439"/>
                    <a:pt x="4694" y="1653"/>
                  </a:cubicBezTo>
                  <a:cubicBezTo>
                    <a:pt x="4907" y="1593"/>
                    <a:pt x="5052" y="1536"/>
                    <a:pt x="5138" y="1385"/>
                  </a:cubicBezTo>
                  <a:close/>
                  <a:moveTo>
                    <a:pt x="4810" y="2000"/>
                  </a:moveTo>
                  <a:cubicBezTo>
                    <a:pt x="4683" y="1998"/>
                    <a:pt x="4592" y="2069"/>
                    <a:pt x="4474" y="2181"/>
                  </a:cubicBezTo>
                  <a:cubicBezTo>
                    <a:pt x="4589" y="2297"/>
                    <a:pt x="4677" y="2371"/>
                    <a:pt x="4805" y="2373"/>
                  </a:cubicBezTo>
                  <a:cubicBezTo>
                    <a:pt x="5003" y="2376"/>
                    <a:pt x="5141" y="2274"/>
                    <a:pt x="5300" y="2194"/>
                  </a:cubicBezTo>
                  <a:cubicBezTo>
                    <a:pt x="5144" y="2110"/>
                    <a:pt x="5009" y="2003"/>
                    <a:pt x="4810" y="2000"/>
                  </a:cubicBezTo>
                  <a:close/>
                  <a:moveTo>
                    <a:pt x="6464" y="5522"/>
                  </a:moveTo>
                  <a:cubicBezTo>
                    <a:pt x="6680" y="5542"/>
                    <a:pt x="6834" y="5540"/>
                    <a:pt x="6967" y="5431"/>
                  </a:cubicBezTo>
                  <a:cubicBezTo>
                    <a:pt x="7176" y="5261"/>
                    <a:pt x="7230" y="5034"/>
                    <a:pt x="7325" y="4813"/>
                  </a:cubicBezTo>
                  <a:cubicBezTo>
                    <a:pt x="7090" y="4862"/>
                    <a:pt x="6856" y="4870"/>
                    <a:pt x="6648" y="5040"/>
                  </a:cubicBezTo>
                  <a:cubicBezTo>
                    <a:pt x="6523" y="5142"/>
                    <a:pt x="6486" y="5281"/>
                    <a:pt x="6462" y="5477"/>
                  </a:cubicBezTo>
                  <a:cubicBezTo>
                    <a:pt x="5999" y="5648"/>
                    <a:pt x="5482" y="5615"/>
                    <a:pt x="5056" y="5404"/>
                  </a:cubicBezTo>
                  <a:cubicBezTo>
                    <a:pt x="5318" y="5181"/>
                    <a:pt x="5557" y="4936"/>
                    <a:pt x="5772" y="4677"/>
                  </a:cubicBezTo>
                  <a:cubicBezTo>
                    <a:pt x="6008" y="4653"/>
                    <a:pt x="6175" y="4613"/>
                    <a:pt x="6300" y="4466"/>
                  </a:cubicBezTo>
                  <a:cubicBezTo>
                    <a:pt x="6503" y="4225"/>
                    <a:pt x="6517" y="3952"/>
                    <a:pt x="6578" y="3676"/>
                  </a:cubicBezTo>
                  <a:cubicBezTo>
                    <a:pt x="6317" y="3784"/>
                    <a:pt x="6050" y="3843"/>
                    <a:pt x="5846" y="4084"/>
                  </a:cubicBezTo>
                  <a:cubicBezTo>
                    <a:pt x="5726" y="4227"/>
                    <a:pt x="5713" y="4393"/>
                    <a:pt x="5727" y="4620"/>
                  </a:cubicBezTo>
                  <a:cubicBezTo>
                    <a:pt x="5215" y="5074"/>
                    <a:pt x="4629" y="5437"/>
                    <a:pt x="4012" y="5663"/>
                  </a:cubicBezTo>
                  <a:cubicBezTo>
                    <a:pt x="4087" y="4970"/>
                    <a:pt x="4479" y="4303"/>
                    <a:pt x="5092" y="3905"/>
                  </a:cubicBezTo>
                  <a:cubicBezTo>
                    <a:pt x="5231" y="3974"/>
                    <a:pt x="5336" y="4012"/>
                    <a:pt x="5454" y="3974"/>
                  </a:cubicBezTo>
                  <a:cubicBezTo>
                    <a:pt x="5643" y="3913"/>
                    <a:pt x="5741" y="3772"/>
                    <a:pt x="5866" y="3646"/>
                  </a:cubicBezTo>
                  <a:cubicBezTo>
                    <a:pt x="5691" y="3616"/>
                    <a:pt x="5529" y="3559"/>
                    <a:pt x="5340" y="3620"/>
                  </a:cubicBezTo>
                  <a:cubicBezTo>
                    <a:pt x="5230" y="3655"/>
                    <a:pt x="5168" y="3738"/>
                    <a:pt x="5102" y="3859"/>
                  </a:cubicBezTo>
                  <a:cubicBezTo>
                    <a:pt x="4381" y="4206"/>
                    <a:pt x="3835" y="4934"/>
                    <a:pt x="3701" y="5765"/>
                  </a:cubicBezTo>
                  <a:cubicBezTo>
                    <a:pt x="3326" y="5873"/>
                    <a:pt x="2942" y="5929"/>
                    <a:pt x="2559" y="5925"/>
                  </a:cubicBezTo>
                  <a:cubicBezTo>
                    <a:pt x="2624" y="5769"/>
                    <a:pt x="2697" y="5613"/>
                    <a:pt x="2782" y="5458"/>
                  </a:cubicBezTo>
                  <a:cubicBezTo>
                    <a:pt x="3092" y="4791"/>
                    <a:pt x="3474" y="4113"/>
                    <a:pt x="3695" y="3370"/>
                  </a:cubicBezTo>
                  <a:lnTo>
                    <a:pt x="3695" y="3370"/>
                  </a:lnTo>
                  <a:cubicBezTo>
                    <a:pt x="3695" y="3367"/>
                    <a:pt x="3696" y="3365"/>
                    <a:pt x="3697" y="3363"/>
                  </a:cubicBezTo>
                  <a:cubicBezTo>
                    <a:pt x="3709" y="3311"/>
                    <a:pt x="3722" y="3260"/>
                    <a:pt x="3738" y="3209"/>
                  </a:cubicBezTo>
                  <a:cubicBezTo>
                    <a:pt x="3942" y="2542"/>
                    <a:pt x="4453" y="1960"/>
                    <a:pt x="5131" y="1685"/>
                  </a:cubicBezTo>
                  <a:cubicBezTo>
                    <a:pt x="5254" y="1779"/>
                    <a:pt x="5350" y="1836"/>
                    <a:pt x="5473" y="1821"/>
                  </a:cubicBezTo>
                  <a:cubicBezTo>
                    <a:pt x="5670" y="1797"/>
                    <a:pt x="5793" y="1677"/>
                    <a:pt x="5939" y="1577"/>
                  </a:cubicBezTo>
                  <a:cubicBezTo>
                    <a:pt x="5773" y="1515"/>
                    <a:pt x="5625" y="1427"/>
                    <a:pt x="5428" y="1451"/>
                  </a:cubicBezTo>
                  <a:cubicBezTo>
                    <a:pt x="5313" y="1465"/>
                    <a:pt x="5237" y="1535"/>
                    <a:pt x="5149" y="1642"/>
                  </a:cubicBezTo>
                  <a:cubicBezTo>
                    <a:pt x="4653" y="1773"/>
                    <a:pt x="4198" y="2072"/>
                    <a:pt x="3859" y="2478"/>
                  </a:cubicBezTo>
                  <a:cubicBezTo>
                    <a:pt x="3878" y="2176"/>
                    <a:pt x="3859" y="1875"/>
                    <a:pt x="3804" y="1581"/>
                  </a:cubicBezTo>
                  <a:cubicBezTo>
                    <a:pt x="3925" y="1301"/>
                    <a:pt x="3984" y="1085"/>
                    <a:pt x="3897" y="850"/>
                  </a:cubicBezTo>
                  <a:cubicBezTo>
                    <a:pt x="3750" y="452"/>
                    <a:pt x="3440" y="255"/>
                    <a:pt x="3159" y="0"/>
                  </a:cubicBezTo>
                  <a:cubicBezTo>
                    <a:pt x="3112" y="376"/>
                    <a:pt x="3004" y="728"/>
                    <a:pt x="3151" y="1126"/>
                  </a:cubicBezTo>
                  <a:cubicBezTo>
                    <a:pt x="3235" y="1353"/>
                    <a:pt x="3411" y="1479"/>
                    <a:pt x="3670" y="1607"/>
                  </a:cubicBezTo>
                  <a:cubicBezTo>
                    <a:pt x="3702" y="2052"/>
                    <a:pt x="3657" y="2497"/>
                    <a:pt x="3516" y="2915"/>
                  </a:cubicBezTo>
                  <a:cubicBezTo>
                    <a:pt x="3335" y="3478"/>
                    <a:pt x="3031" y="3987"/>
                    <a:pt x="2709" y="4501"/>
                  </a:cubicBezTo>
                  <a:cubicBezTo>
                    <a:pt x="2419" y="4331"/>
                    <a:pt x="2159" y="4087"/>
                    <a:pt x="1936" y="3795"/>
                  </a:cubicBezTo>
                  <a:cubicBezTo>
                    <a:pt x="2324" y="3433"/>
                    <a:pt x="2546" y="2917"/>
                    <a:pt x="2548" y="2410"/>
                  </a:cubicBezTo>
                  <a:cubicBezTo>
                    <a:pt x="2660" y="2230"/>
                    <a:pt x="2725" y="2093"/>
                    <a:pt x="2688" y="1927"/>
                  </a:cubicBezTo>
                  <a:cubicBezTo>
                    <a:pt x="2630" y="1664"/>
                    <a:pt x="2452" y="1514"/>
                    <a:pt x="2297" y="1330"/>
                  </a:cubicBezTo>
                  <a:cubicBezTo>
                    <a:pt x="2235" y="1562"/>
                    <a:pt x="2137" y="1774"/>
                    <a:pt x="2195" y="2036"/>
                  </a:cubicBezTo>
                  <a:cubicBezTo>
                    <a:pt x="2230" y="2195"/>
                    <a:pt x="2341" y="2290"/>
                    <a:pt x="2506" y="2400"/>
                  </a:cubicBezTo>
                  <a:cubicBezTo>
                    <a:pt x="2451" y="2890"/>
                    <a:pt x="2189" y="3337"/>
                    <a:pt x="1811" y="3622"/>
                  </a:cubicBezTo>
                  <a:cubicBezTo>
                    <a:pt x="1514" y="3183"/>
                    <a:pt x="1294" y="2660"/>
                    <a:pt x="1173" y="2132"/>
                  </a:cubicBezTo>
                  <a:cubicBezTo>
                    <a:pt x="1366" y="1958"/>
                    <a:pt x="1488" y="1815"/>
                    <a:pt x="1502" y="1605"/>
                  </a:cubicBezTo>
                  <a:cubicBezTo>
                    <a:pt x="1524" y="1263"/>
                    <a:pt x="1359" y="1015"/>
                    <a:pt x="1236" y="734"/>
                  </a:cubicBezTo>
                  <a:cubicBezTo>
                    <a:pt x="1077" y="997"/>
                    <a:pt x="881" y="1221"/>
                    <a:pt x="859" y="1563"/>
                  </a:cubicBezTo>
                  <a:cubicBezTo>
                    <a:pt x="845" y="1776"/>
                    <a:pt x="951" y="1935"/>
                    <a:pt x="1123" y="2137"/>
                  </a:cubicBezTo>
                  <a:cubicBezTo>
                    <a:pt x="1212" y="2904"/>
                    <a:pt x="1461" y="3676"/>
                    <a:pt x="1977" y="4305"/>
                  </a:cubicBezTo>
                  <a:cubicBezTo>
                    <a:pt x="1559" y="4465"/>
                    <a:pt x="1077" y="4483"/>
                    <a:pt x="629" y="4339"/>
                  </a:cubicBezTo>
                  <a:cubicBezTo>
                    <a:pt x="603" y="4215"/>
                    <a:pt x="572" y="4128"/>
                    <a:pt x="487" y="4071"/>
                  </a:cubicBezTo>
                  <a:cubicBezTo>
                    <a:pt x="348" y="3977"/>
                    <a:pt x="203" y="3986"/>
                    <a:pt x="54" y="3969"/>
                  </a:cubicBezTo>
                  <a:cubicBezTo>
                    <a:pt x="126" y="4101"/>
                    <a:pt x="173" y="4238"/>
                    <a:pt x="312" y="4332"/>
                  </a:cubicBezTo>
                  <a:cubicBezTo>
                    <a:pt x="392" y="4386"/>
                    <a:pt x="479" y="4384"/>
                    <a:pt x="593" y="4365"/>
                  </a:cubicBezTo>
                  <a:cubicBezTo>
                    <a:pt x="1059" y="4598"/>
                    <a:pt x="1626" y="4656"/>
                    <a:pt x="2156" y="4505"/>
                  </a:cubicBezTo>
                  <a:cubicBezTo>
                    <a:pt x="2263" y="4615"/>
                    <a:pt x="2380" y="4720"/>
                    <a:pt x="2508" y="4819"/>
                  </a:cubicBezTo>
                  <a:cubicBezTo>
                    <a:pt x="2431" y="4941"/>
                    <a:pt x="2354" y="5064"/>
                    <a:pt x="2279" y="5188"/>
                  </a:cubicBezTo>
                  <a:cubicBezTo>
                    <a:pt x="1812" y="5939"/>
                    <a:pt x="1393" y="6833"/>
                    <a:pt x="1364" y="7823"/>
                  </a:cubicBezTo>
                  <a:cubicBezTo>
                    <a:pt x="1336" y="8470"/>
                    <a:pt x="1466" y="9098"/>
                    <a:pt x="1674" y="9690"/>
                  </a:cubicBezTo>
                  <a:lnTo>
                    <a:pt x="2833" y="9690"/>
                  </a:lnTo>
                  <a:cubicBezTo>
                    <a:pt x="2266" y="8735"/>
                    <a:pt x="2081" y="7660"/>
                    <a:pt x="2340" y="6589"/>
                  </a:cubicBezTo>
                  <a:cubicBezTo>
                    <a:pt x="3295" y="6507"/>
                    <a:pt x="4155" y="6116"/>
                    <a:pt x="4868" y="5559"/>
                  </a:cubicBezTo>
                  <a:cubicBezTo>
                    <a:pt x="5386" y="5782"/>
                    <a:pt x="5982" y="5759"/>
                    <a:pt x="6464" y="5522"/>
                  </a:cubicBezTo>
                  <a:close/>
                  <a:moveTo>
                    <a:pt x="2708" y="3114"/>
                  </a:moveTo>
                  <a:cubicBezTo>
                    <a:pt x="2580" y="3135"/>
                    <a:pt x="2503" y="3221"/>
                    <a:pt x="2406" y="3354"/>
                  </a:cubicBezTo>
                  <a:cubicBezTo>
                    <a:pt x="2541" y="3450"/>
                    <a:pt x="2641" y="3506"/>
                    <a:pt x="2769" y="3486"/>
                  </a:cubicBezTo>
                  <a:cubicBezTo>
                    <a:pt x="2967" y="3453"/>
                    <a:pt x="3086" y="3326"/>
                    <a:pt x="3230" y="3219"/>
                  </a:cubicBezTo>
                  <a:cubicBezTo>
                    <a:pt x="3059" y="3164"/>
                    <a:pt x="2906" y="3082"/>
                    <a:pt x="2708" y="3114"/>
                  </a:cubicBezTo>
                  <a:close/>
                  <a:moveTo>
                    <a:pt x="2813" y="2276"/>
                  </a:moveTo>
                  <a:cubicBezTo>
                    <a:pt x="2711" y="2355"/>
                    <a:pt x="2684" y="2467"/>
                    <a:pt x="2662" y="2630"/>
                  </a:cubicBezTo>
                  <a:cubicBezTo>
                    <a:pt x="2825" y="2650"/>
                    <a:pt x="2941" y="2652"/>
                    <a:pt x="3043" y="2573"/>
                  </a:cubicBezTo>
                  <a:cubicBezTo>
                    <a:pt x="3202" y="2450"/>
                    <a:pt x="3247" y="2282"/>
                    <a:pt x="3322" y="2120"/>
                  </a:cubicBezTo>
                  <a:cubicBezTo>
                    <a:pt x="3146" y="2152"/>
                    <a:pt x="2972" y="2153"/>
                    <a:pt x="2813" y="2276"/>
                  </a:cubicBezTo>
                  <a:close/>
                  <a:moveTo>
                    <a:pt x="2314" y="2889"/>
                  </a:moveTo>
                  <a:cubicBezTo>
                    <a:pt x="2354" y="2730"/>
                    <a:pt x="2371" y="2615"/>
                    <a:pt x="2306" y="2504"/>
                  </a:cubicBezTo>
                  <a:cubicBezTo>
                    <a:pt x="2204" y="2331"/>
                    <a:pt x="2043" y="2265"/>
                    <a:pt x="1891" y="2170"/>
                  </a:cubicBezTo>
                  <a:cubicBezTo>
                    <a:pt x="1901" y="2349"/>
                    <a:pt x="1879" y="2522"/>
                    <a:pt x="1981" y="2694"/>
                  </a:cubicBezTo>
                  <a:cubicBezTo>
                    <a:pt x="2047" y="2806"/>
                    <a:pt x="2155" y="2847"/>
                    <a:pt x="2314" y="2889"/>
                  </a:cubicBezTo>
                  <a:close/>
                  <a:moveTo>
                    <a:pt x="230" y="1933"/>
                  </a:moveTo>
                  <a:cubicBezTo>
                    <a:pt x="302" y="2165"/>
                    <a:pt x="331" y="2398"/>
                    <a:pt x="522" y="2591"/>
                  </a:cubicBezTo>
                  <a:cubicBezTo>
                    <a:pt x="645" y="2715"/>
                    <a:pt x="801" y="2733"/>
                    <a:pt x="1024" y="2736"/>
                  </a:cubicBezTo>
                  <a:cubicBezTo>
                    <a:pt x="1024" y="2513"/>
                    <a:pt x="1007" y="2357"/>
                    <a:pt x="884" y="2233"/>
                  </a:cubicBezTo>
                  <a:cubicBezTo>
                    <a:pt x="694" y="2040"/>
                    <a:pt x="460" y="2007"/>
                    <a:pt x="230" y="1933"/>
                  </a:cubicBezTo>
                  <a:close/>
                  <a:moveTo>
                    <a:pt x="184" y="10403"/>
                  </a:moveTo>
                  <a:lnTo>
                    <a:pt x="4472" y="10403"/>
                  </a:lnTo>
                  <a:lnTo>
                    <a:pt x="4472" y="9980"/>
                  </a:lnTo>
                  <a:lnTo>
                    <a:pt x="184" y="9980"/>
                  </a:lnTo>
                  <a:lnTo>
                    <a:pt x="184" y="10403"/>
                  </a:lnTo>
                  <a:close/>
                </a:path>
              </a:pathLst>
            </a:custGeom>
            <a:solidFill>
              <a:srgbClr val="FFCEF0"/>
            </a:solidFill>
            <a:ln w="9525">
              <a:solidFill>
                <a:srgbClr val="FFCEF0"/>
              </a:solidFill>
              <a:round/>
              <a:headEnd/>
              <a:tailEnd/>
            </a:ln>
          </p:spPr>
          <p:txBody>
            <a:bodyPr vert="horz" wrap="square" lIns="80201" tIns="40100" rIns="80201" bIns="40100" numCol="1" anchor="t" anchorCtr="0" compatLnSpc="1">
              <a:prstTxWarp prst="textNoShape">
                <a:avLst/>
              </a:prstTxWarp>
            </a:bodyPr>
            <a:lstStyle/>
            <a:p>
              <a:endParaRPr lang="nb-NO"/>
            </a:p>
          </p:txBody>
        </p:sp>
        <p:sp>
          <p:nvSpPr>
            <p:cNvPr id="33" name="Oval 32">
              <a:extLst>
                <a:ext uri="{FF2B5EF4-FFF2-40B4-BE49-F238E27FC236}">
                  <a16:creationId xmlns:a16="http://schemas.microsoft.com/office/drawing/2014/main" id="{3583DF53-88BC-62FE-213A-7BDD9D57C5CF}"/>
                </a:ext>
              </a:extLst>
            </p:cNvPr>
            <p:cNvSpPr>
              <a:spLocks noChangeAspect="1"/>
            </p:cNvSpPr>
            <p:nvPr/>
          </p:nvSpPr>
          <p:spPr>
            <a:xfrm>
              <a:off x="6918956" y="2205389"/>
              <a:ext cx="624548" cy="624548"/>
            </a:xfrm>
            <a:prstGeom prst="ellipse">
              <a:avLst/>
            </a:prstGeom>
            <a:solidFill>
              <a:schemeClr val="bg1"/>
            </a:solidFill>
            <a:ln w="38100">
              <a:solidFill>
                <a:srgbClr val="FFCE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algn="ctr"/>
              <a:r>
                <a:rPr lang="nb-NO" sz="2456" b="1">
                  <a:solidFill>
                    <a:schemeClr val="accent1"/>
                  </a:solidFill>
                </a:rPr>
                <a:t>4</a:t>
              </a:r>
            </a:p>
          </p:txBody>
        </p:sp>
      </p:grpSp>
    </p:spTree>
    <p:extLst>
      <p:ext uri="{BB962C8B-B14F-4D97-AF65-F5344CB8AC3E}">
        <p14:creationId xmlns:p14="http://schemas.microsoft.com/office/powerpoint/2010/main" val="3773540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0EA8C-A462-0D9F-82B1-700918608BD1}"/>
            </a:ext>
          </a:extLst>
        </p:cNvPr>
        <p:cNvGrpSpPr/>
        <p:nvPr/>
      </p:nvGrpSpPr>
      <p:grpSpPr>
        <a:xfrm>
          <a:off x="0" y="0"/>
          <a:ext cx="0" cy="0"/>
          <a:chOff x="0" y="0"/>
          <a:chExt cx="0" cy="0"/>
        </a:xfrm>
      </p:grpSpPr>
      <p:pic>
        <p:nvPicPr>
          <p:cNvPr id="33" name="Grafikk 32" descr="Arbeid fra hjemme-skrive bord med heldekkende fyll">
            <a:extLst>
              <a:ext uri="{FF2B5EF4-FFF2-40B4-BE49-F238E27FC236}">
                <a16:creationId xmlns:a16="http://schemas.microsoft.com/office/drawing/2014/main" id="{05D5051D-6FB6-49F2-BF80-66D88ECDA1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35689" y="2544911"/>
            <a:ext cx="612530" cy="612530"/>
          </a:xfrm>
          <a:prstGeom prst="rect">
            <a:avLst/>
          </a:prstGeom>
        </p:spPr>
      </p:pic>
      <p:sp>
        <p:nvSpPr>
          <p:cNvPr id="4" name="Plassholder for tekst 3">
            <a:extLst>
              <a:ext uri="{FF2B5EF4-FFF2-40B4-BE49-F238E27FC236}">
                <a16:creationId xmlns:a16="http://schemas.microsoft.com/office/drawing/2014/main" id="{C06F1224-A9E8-537F-5F36-DD0F652722ED}"/>
              </a:ext>
            </a:extLst>
          </p:cNvPr>
          <p:cNvSpPr>
            <a:spLocks noGrp="1"/>
          </p:cNvSpPr>
          <p:nvPr>
            <p:ph type="body" sz="quarter" idx="17"/>
          </p:nvPr>
        </p:nvSpPr>
        <p:spPr>
          <a:xfrm>
            <a:off x="425906" y="3216467"/>
            <a:ext cx="1376670" cy="303120"/>
          </a:xfrm>
        </p:spPr>
        <p:txBody>
          <a:bodyPr/>
          <a:lstStyle/>
          <a:p>
            <a:pPr algn="ctr"/>
            <a:r>
              <a:rPr lang="nb-NO">
                <a:solidFill>
                  <a:schemeClr val="accent1"/>
                </a:solidFill>
                <a:latin typeface="+mj-lt"/>
              </a:rPr>
              <a:t>Behovsanalyse &amp; Arealstrategi</a:t>
            </a:r>
          </a:p>
        </p:txBody>
      </p:sp>
      <p:sp>
        <p:nvSpPr>
          <p:cNvPr id="5" name="Plassholder for tekst 4">
            <a:extLst>
              <a:ext uri="{FF2B5EF4-FFF2-40B4-BE49-F238E27FC236}">
                <a16:creationId xmlns:a16="http://schemas.microsoft.com/office/drawing/2014/main" id="{C82D5F5D-832B-45B5-ADF9-FDBC3241AEC4}"/>
              </a:ext>
            </a:extLst>
          </p:cNvPr>
          <p:cNvSpPr>
            <a:spLocks noGrp="1"/>
          </p:cNvSpPr>
          <p:nvPr>
            <p:ph type="body" sz="quarter" idx="11"/>
          </p:nvPr>
        </p:nvSpPr>
        <p:spPr>
          <a:xfrm>
            <a:off x="425908" y="1154565"/>
            <a:ext cx="10267493" cy="757448"/>
          </a:xfrm>
        </p:spPr>
        <p:txBody>
          <a:bodyPr/>
          <a:lstStyle/>
          <a:p>
            <a:r>
              <a:rPr lang="nb-NO" sz="2339" dirty="0"/>
              <a:t>Stol på prosessen – riktig fokus til riktig tid</a:t>
            </a:r>
          </a:p>
        </p:txBody>
      </p:sp>
      <p:cxnSp>
        <p:nvCxnSpPr>
          <p:cNvPr id="10" name="Rett pilkobling 9">
            <a:extLst>
              <a:ext uri="{FF2B5EF4-FFF2-40B4-BE49-F238E27FC236}">
                <a16:creationId xmlns:a16="http://schemas.microsoft.com/office/drawing/2014/main" id="{02404C3B-ED9A-26A2-BA0E-23272B9E00E5}"/>
              </a:ext>
            </a:extLst>
          </p:cNvPr>
          <p:cNvCxnSpPr>
            <a:cxnSpLocks/>
          </p:cNvCxnSpPr>
          <p:nvPr/>
        </p:nvCxnSpPr>
        <p:spPr>
          <a:xfrm>
            <a:off x="502910" y="4223160"/>
            <a:ext cx="9874212" cy="2197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1" name="Plassholder for tekst 3">
            <a:extLst>
              <a:ext uri="{FF2B5EF4-FFF2-40B4-BE49-F238E27FC236}">
                <a16:creationId xmlns:a16="http://schemas.microsoft.com/office/drawing/2014/main" id="{865B37ED-022A-5C56-302B-9F192CBF5ADB}"/>
              </a:ext>
            </a:extLst>
          </p:cNvPr>
          <p:cNvSpPr txBox="1">
            <a:spLocks/>
          </p:cNvSpPr>
          <p:nvPr/>
        </p:nvSpPr>
        <p:spPr>
          <a:xfrm>
            <a:off x="1211063" y="4923459"/>
            <a:ext cx="1901383" cy="344806"/>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latin typeface="+mj-lt"/>
              </a:rPr>
              <a:t>Gjennomgang av eksisterende løsning </a:t>
            </a:r>
          </a:p>
        </p:txBody>
      </p:sp>
      <p:sp>
        <p:nvSpPr>
          <p:cNvPr id="24" name="Plassholder for tekst 3">
            <a:extLst>
              <a:ext uri="{FF2B5EF4-FFF2-40B4-BE49-F238E27FC236}">
                <a16:creationId xmlns:a16="http://schemas.microsoft.com/office/drawing/2014/main" id="{7B3A7004-4ACC-FF44-A5EF-1DBB8CC9A1C7}"/>
              </a:ext>
            </a:extLst>
          </p:cNvPr>
          <p:cNvSpPr txBox="1">
            <a:spLocks/>
          </p:cNvSpPr>
          <p:nvPr/>
        </p:nvSpPr>
        <p:spPr>
          <a:xfrm>
            <a:off x="5583421" y="4913502"/>
            <a:ext cx="1376670" cy="30312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latin typeface="+mj-lt"/>
              </a:rPr>
              <a:t>Utarbeide teknisk kravspesifikasjon </a:t>
            </a:r>
          </a:p>
        </p:txBody>
      </p:sp>
      <p:sp>
        <p:nvSpPr>
          <p:cNvPr id="25" name="Plassholder for tekst 3">
            <a:extLst>
              <a:ext uri="{FF2B5EF4-FFF2-40B4-BE49-F238E27FC236}">
                <a16:creationId xmlns:a16="http://schemas.microsoft.com/office/drawing/2014/main" id="{485288EB-3D32-0F36-7065-4641EBFE2844}"/>
              </a:ext>
            </a:extLst>
          </p:cNvPr>
          <p:cNvSpPr txBox="1">
            <a:spLocks/>
          </p:cNvSpPr>
          <p:nvPr/>
        </p:nvSpPr>
        <p:spPr>
          <a:xfrm>
            <a:off x="5550908" y="4846630"/>
            <a:ext cx="1525034" cy="179609"/>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endParaRPr lang="nb-NO" sz="1140">
              <a:solidFill>
                <a:srgbClr val="3C0025"/>
              </a:solidFill>
            </a:endParaRPr>
          </a:p>
        </p:txBody>
      </p:sp>
      <p:sp>
        <p:nvSpPr>
          <p:cNvPr id="26" name="Plassholder for tekst 3">
            <a:extLst>
              <a:ext uri="{FF2B5EF4-FFF2-40B4-BE49-F238E27FC236}">
                <a16:creationId xmlns:a16="http://schemas.microsoft.com/office/drawing/2014/main" id="{886F0B03-4134-DD30-2EBA-F73B940D8666}"/>
              </a:ext>
            </a:extLst>
          </p:cNvPr>
          <p:cNvSpPr txBox="1">
            <a:spLocks/>
          </p:cNvSpPr>
          <p:nvPr/>
        </p:nvSpPr>
        <p:spPr>
          <a:xfrm>
            <a:off x="6545891" y="3216466"/>
            <a:ext cx="1376670" cy="173663"/>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latin typeface="+mj-lt"/>
              </a:rPr>
              <a:t>Tilbudsinnhenting &amp; analyse </a:t>
            </a:r>
          </a:p>
        </p:txBody>
      </p:sp>
      <p:sp>
        <p:nvSpPr>
          <p:cNvPr id="8" name="Ellipse 7">
            <a:extLst>
              <a:ext uri="{FF2B5EF4-FFF2-40B4-BE49-F238E27FC236}">
                <a16:creationId xmlns:a16="http://schemas.microsoft.com/office/drawing/2014/main" id="{B09DE8AB-C62F-8E1E-2FC9-A693658A96EF}"/>
              </a:ext>
            </a:extLst>
          </p:cNvPr>
          <p:cNvSpPr/>
          <p:nvPr/>
        </p:nvSpPr>
        <p:spPr>
          <a:xfrm>
            <a:off x="868776" y="3946647"/>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35" name="Rett linje 34">
            <a:extLst>
              <a:ext uri="{FF2B5EF4-FFF2-40B4-BE49-F238E27FC236}">
                <a16:creationId xmlns:a16="http://schemas.microsoft.com/office/drawing/2014/main" id="{6879811C-CB03-3DB5-BACA-F951EF1912F6}"/>
              </a:ext>
            </a:extLst>
          </p:cNvPr>
          <p:cNvCxnSpPr>
            <a:cxnSpLocks/>
          </p:cNvCxnSpPr>
          <p:nvPr/>
        </p:nvCxnSpPr>
        <p:spPr>
          <a:xfrm>
            <a:off x="1127498" y="3587415"/>
            <a:ext cx="0" cy="617701"/>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Ellipse 15">
            <a:extLst>
              <a:ext uri="{FF2B5EF4-FFF2-40B4-BE49-F238E27FC236}">
                <a16:creationId xmlns:a16="http://schemas.microsoft.com/office/drawing/2014/main" id="{47300F28-8AD4-F537-F0DC-2B1A491853DE}"/>
              </a:ext>
            </a:extLst>
          </p:cNvPr>
          <p:cNvSpPr/>
          <p:nvPr/>
        </p:nvSpPr>
        <p:spPr>
          <a:xfrm>
            <a:off x="2955487" y="3946647"/>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36" name="Rett linje 35">
            <a:extLst>
              <a:ext uri="{FF2B5EF4-FFF2-40B4-BE49-F238E27FC236}">
                <a16:creationId xmlns:a16="http://schemas.microsoft.com/office/drawing/2014/main" id="{A55ABBD0-81EE-8E63-5415-087C8ACA93EA}"/>
              </a:ext>
            </a:extLst>
          </p:cNvPr>
          <p:cNvCxnSpPr>
            <a:cxnSpLocks/>
          </p:cNvCxnSpPr>
          <p:nvPr/>
        </p:nvCxnSpPr>
        <p:spPr>
          <a:xfrm>
            <a:off x="3221023" y="3661170"/>
            <a:ext cx="0" cy="617701"/>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17EA6DB2-2DAF-ECF2-BC20-A5E04CF63460}"/>
              </a:ext>
            </a:extLst>
          </p:cNvPr>
          <p:cNvSpPr/>
          <p:nvPr/>
        </p:nvSpPr>
        <p:spPr>
          <a:xfrm>
            <a:off x="6013582" y="3960638"/>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38" name="Rett linje 37">
            <a:extLst>
              <a:ext uri="{FF2B5EF4-FFF2-40B4-BE49-F238E27FC236}">
                <a16:creationId xmlns:a16="http://schemas.microsoft.com/office/drawing/2014/main" id="{F6CC2CCC-7905-3811-EE0B-979840DE6FA9}"/>
              </a:ext>
            </a:extLst>
          </p:cNvPr>
          <p:cNvCxnSpPr>
            <a:cxnSpLocks/>
          </p:cNvCxnSpPr>
          <p:nvPr/>
        </p:nvCxnSpPr>
        <p:spPr>
          <a:xfrm>
            <a:off x="6272304" y="4071372"/>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025A3EAC-81FF-325A-D16F-0834817DF212}"/>
              </a:ext>
            </a:extLst>
          </p:cNvPr>
          <p:cNvSpPr/>
          <p:nvPr/>
        </p:nvSpPr>
        <p:spPr>
          <a:xfrm>
            <a:off x="1931678" y="3946647"/>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40" name="Rett linje 39">
            <a:extLst>
              <a:ext uri="{FF2B5EF4-FFF2-40B4-BE49-F238E27FC236}">
                <a16:creationId xmlns:a16="http://schemas.microsoft.com/office/drawing/2014/main" id="{5E865A48-E59A-484F-D25B-E55D7820B89C}"/>
              </a:ext>
            </a:extLst>
          </p:cNvPr>
          <p:cNvCxnSpPr>
            <a:cxnSpLocks/>
          </p:cNvCxnSpPr>
          <p:nvPr/>
        </p:nvCxnSpPr>
        <p:spPr>
          <a:xfrm>
            <a:off x="2190400" y="4140521"/>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54784B07-3EAE-0380-D2FA-84CB6D463819}"/>
              </a:ext>
            </a:extLst>
          </p:cNvPr>
          <p:cNvSpPr/>
          <p:nvPr/>
        </p:nvSpPr>
        <p:spPr>
          <a:xfrm>
            <a:off x="3959319" y="3956704"/>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41" name="Rett linje 40">
            <a:extLst>
              <a:ext uri="{FF2B5EF4-FFF2-40B4-BE49-F238E27FC236}">
                <a16:creationId xmlns:a16="http://schemas.microsoft.com/office/drawing/2014/main" id="{C28057F1-1E24-B8B4-DCBD-D82E0EC8DA5D}"/>
              </a:ext>
            </a:extLst>
          </p:cNvPr>
          <p:cNvCxnSpPr>
            <a:cxnSpLocks/>
          </p:cNvCxnSpPr>
          <p:nvPr/>
        </p:nvCxnSpPr>
        <p:spPr>
          <a:xfrm>
            <a:off x="4218041" y="4116409"/>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id="{75D273BE-31A7-DC19-8810-267206BA41DF}"/>
              </a:ext>
            </a:extLst>
          </p:cNvPr>
          <p:cNvSpPr/>
          <p:nvPr/>
        </p:nvSpPr>
        <p:spPr>
          <a:xfrm>
            <a:off x="7052441" y="3960638"/>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43" name="Rett linje 42">
            <a:extLst>
              <a:ext uri="{FF2B5EF4-FFF2-40B4-BE49-F238E27FC236}">
                <a16:creationId xmlns:a16="http://schemas.microsoft.com/office/drawing/2014/main" id="{A4329FA9-F4A8-B0F2-D6AE-6FEAAB358801}"/>
              </a:ext>
            </a:extLst>
          </p:cNvPr>
          <p:cNvCxnSpPr>
            <a:cxnSpLocks/>
          </p:cNvCxnSpPr>
          <p:nvPr/>
        </p:nvCxnSpPr>
        <p:spPr>
          <a:xfrm>
            <a:off x="7311163" y="3658038"/>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9" name="Grafikk 58" descr="Gruveverktøy med heldekkende fyll">
            <a:extLst>
              <a:ext uri="{FF2B5EF4-FFF2-40B4-BE49-F238E27FC236}">
                <a16:creationId xmlns:a16="http://schemas.microsoft.com/office/drawing/2014/main" id="{B4F34821-DF69-D62E-D00D-01DB3D1B53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0618" y="5351730"/>
            <a:ext cx="522479" cy="522479"/>
          </a:xfrm>
          <a:prstGeom prst="rect">
            <a:avLst/>
          </a:prstGeom>
        </p:spPr>
      </p:pic>
      <p:pic>
        <p:nvPicPr>
          <p:cNvPr id="67" name="Grafikk 66" descr="Klubbe med heldekkende fyll">
            <a:extLst>
              <a:ext uri="{FF2B5EF4-FFF2-40B4-BE49-F238E27FC236}">
                <a16:creationId xmlns:a16="http://schemas.microsoft.com/office/drawing/2014/main" id="{71E0BF23-37FE-0ECF-8E3E-A88242BE9C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2008" y="5234401"/>
            <a:ext cx="644196" cy="644196"/>
          </a:xfrm>
          <a:prstGeom prst="rect">
            <a:avLst/>
          </a:prstGeom>
        </p:spPr>
      </p:pic>
      <p:pic>
        <p:nvPicPr>
          <p:cNvPr id="69" name="Grafikk 68" descr="Mål med heldekkende fyll">
            <a:extLst>
              <a:ext uri="{FF2B5EF4-FFF2-40B4-BE49-F238E27FC236}">
                <a16:creationId xmlns:a16="http://schemas.microsoft.com/office/drawing/2014/main" id="{E4C30FC6-2F53-303A-A970-F0C636A696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6634" y="2504445"/>
            <a:ext cx="644196" cy="644196"/>
          </a:xfrm>
          <a:prstGeom prst="rect">
            <a:avLst/>
          </a:prstGeom>
        </p:spPr>
      </p:pic>
      <p:sp>
        <p:nvSpPr>
          <p:cNvPr id="11" name="Plassholder for tekst 3">
            <a:extLst>
              <a:ext uri="{FF2B5EF4-FFF2-40B4-BE49-F238E27FC236}">
                <a16:creationId xmlns:a16="http://schemas.microsoft.com/office/drawing/2014/main" id="{0765B46B-7EC8-045C-25BB-110D86D80B92}"/>
              </a:ext>
            </a:extLst>
          </p:cNvPr>
          <p:cNvSpPr txBox="1">
            <a:spLocks/>
          </p:cNvSpPr>
          <p:nvPr/>
        </p:nvSpPr>
        <p:spPr>
          <a:xfrm>
            <a:off x="825978" y="4140518"/>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1</a:t>
            </a:r>
          </a:p>
        </p:txBody>
      </p:sp>
      <p:sp>
        <p:nvSpPr>
          <p:cNvPr id="13" name="Plassholder for tekst 3">
            <a:extLst>
              <a:ext uri="{FF2B5EF4-FFF2-40B4-BE49-F238E27FC236}">
                <a16:creationId xmlns:a16="http://schemas.microsoft.com/office/drawing/2014/main" id="{EBBC230F-9CE9-4918-C7A8-E5327AEC34B2}"/>
              </a:ext>
            </a:extLst>
          </p:cNvPr>
          <p:cNvSpPr txBox="1">
            <a:spLocks/>
          </p:cNvSpPr>
          <p:nvPr/>
        </p:nvSpPr>
        <p:spPr>
          <a:xfrm>
            <a:off x="2912689" y="4140518"/>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3</a:t>
            </a:r>
          </a:p>
        </p:txBody>
      </p:sp>
      <p:sp>
        <p:nvSpPr>
          <p:cNvPr id="31" name="Plassholder for tekst 3">
            <a:extLst>
              <a:ext uri="{FF2B5EF4-FFF2-40B4-BE49-F238E27FC236}">
                <a16:creationId xmlns:a16="http://schemas.microsoft.com/office/drawing/2014/main" id="{61CECA25-4690-8FFA-B0B5-DE50E7493279}"/>
              </a:ext>
            </a:extLst>
          </p:cNvPr>
          <p:cNvSpPr txBox="1">
            <a:spLocks/>
          </p:cNvSpPr>
          <p:nvPr/>
        </p:nvSpPr>
        <p:spPr>
          <a:xfrm>
            <a:off x="5970784" y="4154509"/>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6</a:t>
            </a:r>
          </a:p>
        </p:txBody>
      </p:sp>
      <p:sp>
        <p:nvSpPr>
          <p:cNvPr id="32" name="Plassholder for tekst 3">
            <a:extLst>
              <a:ext uri="{FF2B5EF4-FFF2-40B4-BE49-F238E27FC236}">
                <a16:creationId xmlns:a16="http://schemas.microsoft.com/office/drawing/2014/main" id="{5F1BE6FD-85B7-27E8-E680-4ACC1579547F}"/>
              </a:ext>
            </a:extLst>
          </p:cNvPr>
          <p:cNvSpPr txBox="1">
            <a:spLocks/>
          </p:cNvSpPr>
          <p:nvPr/>
        </p:nvSpPr>
        <p:spPr>
          <a:xfrm>
            <a:off x="1888881" y="4140518"/>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2</a:t>
            </a:r>
          </a:p>
        </p:txBody>
      </p:sp>
      <p:sp>
        <p:nvSpPr>
          <p:cNvPr id="34" name="Plassholder for tekst 3">
            <a:extLst>
              <a:ext uri="{FF2B5EF4-FFF2-40B4-BE49-F238E27FC236}">
                <a16:creationId xmlns:a16="http://schemas.microsoft.com/office/drawing/2014/main" id="{BA045705-82FD-FF87-CCBD-279D5846DF10}"/>
              </a:ext>
            </a:extLst>
          </p:cNvPr>
          <p:cNvSpPr txBox="1">
            <a:spLocks/>
          </p:cNvSpPr>
          <p:nvPr/>
        </p:nvSpPr>
        <p:spPr>
          <a:xfrm>
            <a:off x="3940897" y="4150575"/>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4</a:t>
            </a:r>
          </a:p>
        </p:txBody>
      </p:sp>
      <p:sp>
        <p:nvSpPr>
          <p:cNvPr id="54" name="Plassholder for tekst 3">
            <a:extLst>
              <a:ext uri="{FF2B5EF4-FFF2-40B4-BE49-F238E27FC236}">
                <a16:creationId xmlns:a16="http://schemas.microsoft.com/office/drawing/2014/main" id="{C09EFA4F-5E58-697B-0327-6AEFDA57691D}"/>
              </a:ext>
            </a:extLst>
          </p:cNvPr>
          <p:cNvSpPr txBox="1">
            <a:spLocks/>
          </p:cNvSpPr>
          <p:nvPr/>
        </p:nvSpPr>
        <p:spPr>
          <a:xfrm>
            <a:off x="7009644" y="4154509"/>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7</a:t>
            </a:r>
          </a:p>
        </p:txBody>
      </p:sp>
      <p:sp>
        <p:nvSpPr>
          <p:cNvPr id="19" name="Ellipse 18">
            <a:extLst>
              <a:ext uri="{FF2B5EF4-FFF2-40B4-BE49-F238E27FC236}">
                <a16:creationId xmlns:a16="http://schemas.microsoft.com/office/drawing/2014/main" id="{F2C0C979-C04B-F416-214C-3C484098E7DF}"/>
              </a:ext>
            </a:extLst>
          </p:cNvPr>
          <p:cNvSpPr/>
          <p:nvPr/>
        </p:nvSpPr>
        <p:spPr>
          <a:xfrm>
            <a:off x="5023178" y="3960638"/>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42" name="Rett linje 41">
            <a:extLst>
              <a:ext uri="{FF2B5EF4-FFF2-40B4-BE49-F238E27FC236}">
                <a16:creationId xmlns:a16="http://schemas.microsoft.com/office/drawing/2014/main" id="{21B09A8F-FCFE-C097-2602-B349588520C1}"/>
              </a:ext>
            </a:extLst>
          </p:cNvPr>
          <p:cNvCxnSpPr>
            <a:cxnSpLocks/>
          </p:cNvCxnSpPr>
          <p:nvPr/>
        </p:nvCxnSpPr>
        <p:spPr>
          <a:xfrm>
            <a:off x="5281382" y="3611827"/>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4" name="Plassholder for tekst 3">
            <a:extLst>
              <a:ext uri="{FF2B5EF4-FFF2-40B4-BE49-F238E27FC236}">
                <a16:creationId xmlns:a16="http://schemas.microsoft.com/office/drawing/2014/main" id="{AF060567-72EE-E164-91B7-309616414907}"/>
              </a:ext>
            </a:extLst>
          </p:cNvPr>
          <p:cNvSpPr txBox="1">
            <a:spLocks/>
          </p:cNvSpPr>
          <p:nvPr/>
        </p:nvSpPr>
        <p:spPr>
          <a:xfrm>
            <a:off x="4980379" y="4141299"/>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5</a:t>
            </a:r>
          </a:p>
        </p:txBody>
      </p:sp>
      <p:sp>
        <p:nvSpPr>
          <p:cNvPr id="22" name="Plassholder for tekst 3">
            <a:extLst>
              <a:ext uri="{FF2B5EF4-FFF2-40B4-BE49-F238E27FC236}">
                <a16:creationId xmlns:a16="http://schemas.microsoft.com/office/drawing/2014/main" id="{0F7EBEF0-3D00-FB83-75C9-EF4257AEEA5F}"/>
              </a:ext>
            </a:extLst>
          </p:cNvPr>
          <p:cNvSpPr txBox="1">
            <a:spLocks/>
          </p:cNvSpPr>
          <p:nvPr/>
        </p:nvSpPr>
        <p:spPr>
          <a:xfrm>
            <a:off x="2510553" y="3293647"/>
            <a:ext cx="1506714" cy="325585"/>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6">
                <a:solidFill>
                  <a:srgbClr val="3C0025"/>
                </a:solidFill>
                <a:latin typeface="+mj-lt"/>
              </a:rPr>
              <a:t>Markedssøk &amp; Analyse av markedet</a:t>
            </a:r>
          </a:p>
        </p:txBody>
      </p:sp>
      <p:pic>
        <p:nvPicPr>
          <p:cNvPr id="3" name="Grafikk 2" descr="Forstørrelsesglass med heldekkende fyll">
            <a:extLst>
              <a:ext uri="{FF2B5EF4-FFF2-40B4-BE49-F238E27FC236}">
                <a16:creationId xmlns:a16="http://schemas.microsoft.com/office/drawing/2014/main" id="{92422429-6E3E-E327-82CE-8421AD89472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31680" y="5268266"/>
            <a:ext cx="617431" cy="617431"/>
          </a:xfrm>
          <a:prstGeom prst="rect">
            <a:avLst/>
          </a:prstGeom>
        </p:spPr>
      </p:pic>
      <p:sp>
        <p:nvSpPr>
          <p:cNvPr id="27" name="Plassholder for tekst 3">
            <a:extLst>
              <a:ext uri="{FF2B5EF4-FFF2-40B4-BE49-F238E27FC236}">
                <a16:creationId xmlns:a16="http://schemas.microsoft.com/office/drawing/2014/main" id="{01AC5CA0-E51C-F27C-1E3C-895A7AC3AC6C}"/>
              </a:ext>
            </a:extLst>
          </p:cNvPr>
          <p:cNvSpPr txBox="1">
            <a:spLocks/>
          </p:cNvSpPr>
          <p:nvPr/>
        </p:nvSpPr>
        <p:spPr>
          <a:xfrm>
            <a:off x="3032643" y="4927475"/>
            <a:ext cx="2300008" cy="325585"/>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69" dirty="0">
                <a:solidFill>
                  <a:srgbClr val="3C0025"/>
                </a:solidFill>
                <a:latin typeface="+mj-lt"/>
              </a:rPr>
              <a:t>Presentasjon av alternativer</a:t>
            </a:r>
          </a:p>
        </p:txBody>
      </p:sp>
      <p:sp>
        <p:nvSpPr>
          <p:cNvPr id="39" name="Ellipse 38">
            <a:extLst>
              <a:ext uri="{FF2B5EF4-FFF2-40B4-BE49-F238E27FC236}">
                <a16:creationId xmlns:a16="http://schemas.microsoft.com/office/drawing/2014/main" id="{625B18B0-609F-A9B5-127A-97472F8F0C17}"/>
              </a:ext>
            </a:extLst>
          </p:cNvPr>
          <p:cNvSpPr/>
          <p:nvPr/>
        </p:nvSpPr>
        <p:spPr>
          <a:xfrm>
            <a:off x="8058967" y="3952666"/>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49" name="Rett linje 48">
            <a:extLst>
              <a:ext uri="{FF2B5EF4-FFF2-40B4-BE49-F238E27FC236}">
                <a16:creationId xmlns:a16="http://schemas.microsoft.com/office/drawing/2014/main" id="{D92668B7-E8C9-5771-DB93-AAAE4FC8C655}"/>
              </a:ext>
            </a:extLst>
          </p:cNvPr>
          <p:cNvCxnSpPr>
            <a:cxnSpLocks/>
          </p:cNvCxnSpPr>
          <p:nvPr/>
        </p:nvCxnSpPr>
        <p:spPr>
          <a:xfrm>
            <a:off x="8317689" y="4063398"/>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5" name="Plassholder for tekst 3">
            <a:extLst>
              <a:ext uri="{FF2B5EF4-FFF2-40B4-BE49-F238E27FC236}">
                <a16:creationId xmlns:a16="http://schemas.microsoft.com/office/drawing/2014/main" id="{74D59255-8ADC-D995-2347-1334D50CFFE5}"/>
              </a:ext>
            </a:extLst>
          </p:cNvPr>
          <p:cNvSpPr txBox="1">
            <a:spLocks/>
          </p:cNvSpPr>
          <p:nvPr/>
        </p:nvSpPr>
        <p:spPr>
          <a:xfrm>
            <a:off x="8016170" y="4146537"/>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8</a:t>
            </a:r>
          </a:p>
        </p:txBody>
      </p:sp>
      <p:sp>
        <p:nvSpPr>
          <p:cNvPr id="56" name="Plassholder for tekst 3">
            <a:extLst>
              <a:ext uri="{FF2B5EF4-FFF2-40B4-BE49-F238E27FC236}">
                <a16:creationId xmlns:a16="http://schemas.microsoft.com/office/drawing/2014/main" id="{E77A1900-757B-67C4-3C39-AC523F8D940C}"/>
              </a:ext>
            </a:extLst>
          </p:cNvPr>
          <p:cNvSpPr txBox="1">
            <a:spLocks/>
          </p:cNvSpPr>
          <p:nvPr/>
        </p:nvSpPr>
        <p:spPr>
          <a:xfrm>
            <a:off x="7577485" y="4904594"/>
            <a:ext cx="1738092" cy="325585"/>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6">
                <a:solidFill>
                  <a:srgbClr val="3C0025"/>
                </a:solidFill>
                <a:latin typeface="+mj-lt"/>
              </a:rPr>
              <a:t>Kommersielle, tekniske og juridiske forhandlinger</a:t>
            </a:r>
          </a:p>
        </p:txBody>
      </p:sp>
      <p:sp>
        <p:nvSpPr>
          <p:cNvPr id="60" name="Ellipse 59">
            <a:extLst>
              <a:ext uri="{FF2B5EF4-FFF2-40B4-BE49-F238E27FC236}">
                <a16:creationId xmlns:a16="http://schemas.microsoft.com/office/drawing/2014/main" id="{7E5FEC54-02EA-48DE-AC51-43804C90AC4D}"/>
              </a:ext>
            </a:extLst>
          </p:cNvPr>
          <p:cNvSpPr/>
          <p:nvPr/>
        </p:nvSpPr>
        <p:spPr>
          <a:xfrm>
            <a:off x="9106591" y="3932269"/>
            <a:ext cx="525041" cy="525041"/>
          </a:xfrm>
          <a:prstGeom prst="ellipse">
            <a:avLst/>
          </a:prstGeom>
          <a:solidFill>
            <a:schemeClr val="accent4"/>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61"/>
            <a:endParaRPr lang="nb-NO" sz="1228">
              <a:solidFill>
                <a:srgbClr val="FFFFFF"/>
              </a:solidFill>
              <a:latin typeface="Fold Grotesque Pro Light"/>
            </a:endParaRPr>
          </a:p>
        </p:txBody>
      </p:sp>
      <p:cxnSp>
        <p:nvCxnSpPr>
          <p:cNvPr id="62" name="Rett linje 61">
            <a:extLst>
              <a:ext uri="{FF2B5EF4-FFF2-40B4-BE49-F238E27FC236}">
                <a16:creationId xmlns:a16="http://schemas.microsoft.com/office/drawing/2014/main" id="{7BDDB3BC-FA82-EA3E-7344-B24918FEF71A}"/>
              </a:ext>
            </a:extLst>
          </p:cNvPr>
          <p:cNvCxnSpPr>
            <a:cxnSpLocks/>
          </p:cNvCxnSpPr>
          <p:nvPr/>
        </p:nvCxnSpPr>
        <p:spPr>
          <a:xfrm>
            <a:off x="9365311" y="3668988"/>
            <a:ext cx="0" cy="716383"/>
          </a:xfrm>
          <a:prstGeom prst="line">
            <a:avLst/>
          </a:prstGeom>
          <a:solidFill>
            <a:schemeClr val="accent4"/>
          </a:solidFill>
          <a:ln w="381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4" name="Grafikk 63" descr="Håndtrykk med heldekkende fyll">
            <a:extLst>
              <a:ext uri="{FF2B5EF4-FFF2-40B4-BE49-F238E27FC236}">
                <a16:creationId xmlns:a16="http://schemas.microsoft.com/office/drawing/2014/main" id="{BE47393D-6A66-3349-EC1F-51452E91DE8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75017" y="5326998"/>
            <a:ext cx="644196" cy="644196"/>
          </a:xfrm>
          <a:prstGeom prst="rect">
            <a:avLst/>
          </a:prstGeom>
        </p:spPr>
      </p:pic>
      <p:sp>
        <p:nvSpPr>
          <p:cNvPr id="65" name="Plassholder for tekst 3">
            <a:extLst>
              <a:ext uri="{FF2B5EF4-FFF2-40B4-BE49-F238E27FC236}">
                <a16:creationId xmlns:a16="http://schemas.microsoft.com/office/drawing/2014/main" id="{E36003A1-D817-FA5E-B9C5-6B2DAFF9A402}"/>
              </a:ext>
            </a:extLst>
          </p:cNvPr>
          <p:cNvSpPr txBox="1">
            <a:spLocks/>
          </p:cNvSpPr>
          <p:nvPr/>
        </p:nvSpPr>
        <p:spPr>
          <a:xfrm>
            <a:off x="9063794" y="4126142"/>
            <a:ext cx="60304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rPr>
              <a:t>9</a:t>
            </a:r>
          </a:p>
        </p:txBody>
      </p:sp>
      <p:sp>
        <p:nvSpPr>
          <p:cNvPr id="6" name="Plassholder for tekst 3">
            <a:extLst>
              <a:ext uri="{FF2B5EF4-FFF2-40B4-BE49-F238E27FC236}">
                <a16:creationId xmlns:a16="http://schemas.microsoft.com/office/drawing/2014/main" id="{9550A20D-09C5-6FD7-ED33-691A999B847A}"/>
              </a:ext>
            </a:extLst>
          </p:cNvPr>
          <p:cNvSpPr txBox="1">
            <a:spLocks/>
          </p:cNvSpPr>
          <p:nvPr/>
        </p:nvSpPr>
        <p:spPr>
          <a:xfrm>
            <a:off x="8317689" y="3214179"/>
            <a:ext cx="2122433" cy="151560"/>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0">
                <a:solidFill>
                  <a:srgbClr val="3C0025"/>
                </a:solidFill>
                <a:latin typeface="+mj-lt"/>
              </a:rPr>
              <a:t>Signere ny leieavtale – enten på ny eller eksisterende lokasjon</a:t>
            </a:r>
          </a:p>
        </p:txBody>
      </p:sp>
      <p:pic>
        <p:nvPicPr>
          <p:cNvPr id="12" name="Grafikk 11" descr="Mappesøk med heldekkende fyll">
            <a:extLst>
              <a:ext uri="{FF2B5EF4-FFF2-40B4-BE49-F238E27FC236}">
                <a16:creationId xmlns:a16="http://schemas.microsoft.com/office/drawing/2014/main" id="{FC53F439-64DB-88F5-26C0-8C2F89EE702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940953" y="2571468"/>
            <a:ext cx="592038" cy="592038"/>
          </a:xfrm>
          <a:prstGeom prst="rect">
            <a:avLst/>
          </a:prstGeom>
        </p:spPr>
      </p:pic>
      <p:sp>
        <p:nvSpPr>
          <p:cNvPr id="2" name="Plassholder for tekst 3">
            <a:extLst>
              <a:ext uri="{FF2B5EF4-FFF2-40B4-BE49-F238E27FC236}">
                <a16:creationId xmlns:a16="http://schemas.microsoft.com/office/drawing/2014/main" id="{071CAB4B-8DF6-0F59-92D9-86F438B18E04}"/>
              </a:ext>
            </a:extLst>
          </p:cNvPr>
          <p:cNvSpPr txBox="1">
            <a:spLocks/>
          </p:cNvSpPr>
          <p:nvPr/>
        </p:nvSpPr>
        <p:spPr>
          <a:xfrm>
            <a:off x="4504350" y="3216468"/>
            <a:ext cx="1506714" cy="325585"/>
          </a:xfrm>
          <a:prstGeom prst="rect">
            <a:avLst/>
          </a:prstGeom>
        </p:spPr>
        <p:txBody>
          <a:bodyPr lIns="0" tIns="0" rIns="0" bIns="0" anchor="t" anchorCtr="0"/>
          <a:lstStyle>
            <a:lvl1pPr marL="0" indent="0" algn="l" defTabSz="914400" rtl="0" eaLnBrk="1" latinLnBrk="0" hangingPunct="1">
              <a:lnSpc>
                <a:spcPct val="90000"/>
              </a:lnSpc>
              <a:spcBef>
                <a:spcPts val="1000"/>
              </a:spcBef>
              <a:buFont typeface="Arial" panose="020B0604020202020204" pitchFamily="34" charset="0"/>
              <a:buNone/>
              <a:defRPr sz="1300" b="0" kern="1200">
                <a:solidFill>
                  <a:schemeClr val="tx1"/>
                </a:solidFill>
                <a:latin typeface="Fold Grotesque Pro Medium" panose="020B06030302010401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01961"/>
            <a:r>
              <a:rPr lang="nb-NO" sz="1146">
                <a:solidFill>
                  <a:srgbClr val="3C0025"/>
                </a:solidFill>
                <a:latin typeface="+mj-lt"/>
              </a:rPr>
              <a:t>Utarbeide rom- og funksjonsprogram</a:t>
            </a:r>
          </a:p>
        </p:txBody>
      </p:sp>
      <p:pic>
        <p:nvPicPr>
          <p:cNvPr id="14" name="Grafikk 13" descr="Bygning med heldekkende fyll">
            <a:extLst>
              <a:ext uri="{FF2B5EF4-FFF2-40B4-BE49-F238E27FC236}">
                <a16:creationId xmlns:a16="http://schemas.microsoft.com/office/drawing/2014/main" id="{7527FDCD-3A84-FC24-9B5D-9E92779B435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81845" y="2545086"/>
            <a:ext cx="598684" cy="598684"/>
          </a:xfrm>
          <a:prstGeom prst="rect">
            <a:avLst/>
          </a:prstGeom>
        </p:spPr>
      </p:pic>
      <p:pic>
        <p:nvPicPr>
          <p:cNvPr id="47" name="Grafikk 46" descr="Signatur med heldekkende fyll">
            <a:extLst>
              <a:ext uri="{FF2B5EF4-FFF2-40B4-BE49-F238E27FC236}">
                <a16:creationId xmlns:a16="http://schemas.microsoft.com/office/drawing/2014/main" id="{2FD5E687-EE3E-4CA9-5412-C43E9E3AA6A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132108" y="2651247"/>
            <a:ext cx="534729" cy="534729"/>
          </a:xfrm>
          <a:prstGeom prst="rect">
            <a:avLst/>
          </a:prstGeom>
        </p:spPr>
      </p:pic>
    </p:spTree>
    <p:extLst>
      <p:ext uri="{BB962C8B-B14F-4D97-AF65-F5344CB8AC3E}">
        <p14:creationId xmlns:p14="http://schemas.microsoft.com/office/powerpoint/2010/main" val="3189244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ssholder for tekst 17">
            <a:extLst>
              <a:ext uri="{FF2B5EF4-FFF2-40B4-BE49-F238E27FC236}">
                <a16:creationId xmlns:a16="http://schemas.microsoft.com/office/drawing/2014/main" id="{51C674CB-249E-782C-43C4-D5BF0F7FAEAA}"/>
              </a:ext>
            </a:extLst>
          </p:cNvPr>
          <p:cNvSpPr>
            <a:spLocks noGrp="1"/>
          </p:cNvSpPr>
          <p:nvPr>
            <p:ph type="body" sz="quarter" idx="13"/>
          </p:nvPr>
        </p:nvSpPr>
        <p:spPr>
          <a:xfrm>
            <a:off x="10462202" y="7247071"/>
            <a:ext cx="64" cy="97271"/>
          </a:xfrm>
        </p:spPr>
        <p:txBody>
          <a:bodyPr/>
          <a:lstStyle/>
          <a:p>
            <a:endParaRPr lang="nb-NO"/>
          </a:p>
        </p:txBody>
      </p:sp>
      <p:sp>
        <p:nvSpPr>
          <p:cNvPr id="2" name="Plassholder for tekst 1">
            <a:extLst>
              <a:ext uri="{FF2B5EF4-FFF2-40B4-BE49-F238E27FC236}">
                <a16:creationId xmlns:a16="http://schemas.microsoft.com/office/drawing/2014/main" id="{F37CF4D1-ECA5-176A-CEBF-B579B7F53ED7}"/>
              </a:ext>
            </a:extLst>
          </p:cNvPr>
          <p:cNvSpPr>
            <a:spLocks noGrp="1"/>
          </p:cNvSpPr>
          <p:nvPr>
            <p:ph type="body" sz="quarter" idx="11"/>
          </p:nvPr>
        </p:nvSpPr>
        <p:spPr/>
        <p:txBody>
          <a:bodyPr/>
          <a:lstStyle/>
          <a:p>
            <a:r>
              <a:rPr lang="nb-NO" dirty="0"/>
              <a:t>Kontorbeliggenhet velges stadig oftere ut ifra tilgjengelighet for ansatte. Reisevei nummer en driver for bruk av hjemmekontor</a:t>
            </a:r>
          </a:p>
        </p:txBody>
      </p:sp>
      <p:sp>
        <p:nvSpPr>
          <p:cNvPr id="19" name="Plassholder for innhold 18">
            <a:extLst>
              <a:ext uri="{FF2B5EF4-FFF2-40B4-BE49-F238E27FC236}">
                <a16:creationId xmlns:a16="http://schemas.microsoft.com/office/drawing/2014/main" id="{EF33D9AF-F9E8-F3BE-A210-674F9F6457F2}"/>
              </a:ext>
            </a:extLst>
          </p:cNvPr>
          <p:cNvSpPr>
            <a:spLocks noGrp="1"/>
          </p:cNvSpPr>
          <p:nvPr>
            <p:ph sz="quarter" idx="18"/>
          </p:nvPr>
        </p:nvSpPr>
        <p:spPr/>
        <p:txBody>
          <a:bodyPr/>
          <a:lstStyle/>
          <a:p>
            <a:pPr marL="250631" indent="-250631"/>
            <a:r>
              <a:rPr lang="nb-NO" sz="1228" dirty="0">
                <a:solidFill>
                  <a:schemeClr val="accent1"/>
                </a:solidFill>
                <a:latin typeface="Fold Grotesque Pro Light" panose="020B0303030201040103" pitchFamily="34" charset="0"/>
              </a:rPr>
              <a:t>Beregning av reell reisevei for alle ansatte fra bosted til aktuelle beliggenheter med alle relevante transportmetoder</a:t>
            </a:r>
          </a:p>
          <a:p>
            <a:pPr marL="250631" indent="-250631"/>
            <a:r>
              <a:rPr lang="nb-NO" sz="1228" dirty="0">
                <a:solidFill>
                  <a:schemeClr val="accent1"/>
                </a:solidFill>
                <a:latin typeface="Fold Grotesque Pro Light" panose="020B0303030201040103" pitchFamily="34" charset="0"/>
              </a:rPr>
              <a:t>Sykkelvei stadig viktigere – fokus på andel ansatte med akseptabel sykkeltid</a:t>
            </a:r>
          </a:p>
          <a:p>
            <a:pPr marL="250631" indent="-250631"/>
            <a:r>
              <a:rPr lang="nb-NO" sz="1228" dirty="0">
                <a:solidFill>
                  <a:schemeClr val="accent1"/>
                </a:solidFill>
                <a:latin typeface="Fold Grotesque Pro Light" panose="020B0303030201040103" pitchFamily="34" charset="0"/>
              </a:rPr>
              <a:t>Gir faktabasert </a:t>
            </a:r>
            <a:r>
              <a:rPr lang="nb-NO" sz="1228" dirty="0" err="1">
                <a:solidFill>
                  <a:schemeClr val="accent1"/>
                </a:solidFill>
                <a:latin typeface="Fold Grotesque Pro Light" panose="020B0303030201040103" pitchFamily="34" charset="0"/>
              </a:rPr>
              <a:t>beslutningsrullag</a:t>
            </a:r>
            <a:r>
              <a:rPr lang="nb-NO" sz="1228" dirty="0">
                <a:solidFill>
                  <a:schemeClr val="accent1"/>
                </a:solidFill>
                <a:latin typeface="Fold Grotesque Pro Light" panose="020B0303030201040103" pitchFamily="34" charset="0"/>
              </a:rPr>
              <a:t> – unngå å synse</a:t>
            </a:r>
          </a:p>
          <a:p>
            <a:endParaRPr lang="nb-NO" dirty="0"/>
          </a:p>
        </p:txBody>
      </p:sp>
      <p:sp>
        <p:nvSpPr>
          <p:cNvPr id="20" name="Plassholder for tekst 19">
            <a:extLst>
              <a:ext uri="{FF2B5EF4-FFF2-40B4-BE49-F238E27FC236}">
                <a16:creationId xmlns:a16="http://schemas.microsoft.com/office/drawing/2014/main" id="{098B83D2-E428-968A-523F-F2A3453F5FE0}"/>
              </a:ext>
            </a:extLst>
          </p:cNvPr>
          <p:cNvSpPr>
            <a:spLocks noGrp="1"/>
          </p:cNvSpPr>
          <p:nvPr>
            <p:ph type="body" sz="quarter" idx="19"/>
          </p:nvPr>
        </p:nvSpPr>
        <p:spPr/>
        <p:txBody>
          <a:bodyPr/>
          <a:lstStyle/>
          <a:p>
            <a:r>
              <a:rPr lang="nb-NO" dirty="0"/>
              <a:t>Gjennomfør en reiseveisanalyser som måler ulike beliggenheter</a:t>
            </a:r>
          </a:p>
        </p:txBody>
      </p:sp>
      <p:pic>
        <p:nvPicPr>
          <p:cNvPr id="9" name="Bilde 8">
            <a:extLst>
              <a:ext uri="{FF2B5EF4-FFF2-40B4-BE49-F238E27FC236}">
                <a16:creationId xmlns:a16="http://schemas.microsoft.com/office/drawing/2014/main" id="{2839CDB4-2CF8-DAB3-4E59-698A82803F46}"/>
              </a:ext>
            </a:extLst>
          </p:cNvPr>
          <p:cNvPicPr>
            <a:picLocks noChangeAspect="1"/>
          </p:cNvPicPr>
          <p:nvPr/>
        </p:nvPicPr>
        <p:blipFill>
          <a:blip r:embed="rId2"/>
          <a:stretch>
            <a:fillRect/>
          </a:stretch>
        </p:blipFill>
        <p:spPr>
          <a:xfrm>
            <a:off x="6320074" y="1791475"/>
            <a:ext cx="3922862" cy="4610674"/>
          </a:xfrm>
          <a:prstGeom prst="rect">
            <a:avLst/>
          </a:prstGeom>
        </p:spPr>
      </p:pic>
      <p:sp>
        <p:nvSpPr>
          <p:cNvPr id="14" name="Rektangel 13">
            <a:extLst>
              <a:ext uri="{FF2B5EF4-FFF2-40B4-BE49-F238E27FC236}">
                <a16:creationId xmlns:a16="http://schemas.microsoft.com/office/drawing/2014/main" id="{375A297C-A725-AC51-84A0-C9C70F18C70C}"/>
              </a:ext>
            </a:extLst>
          </p:cNvPr>
          <p:cNvSpPr/>
          <p:nvPr/>
        </p:nvSpPr>
        <p:spPr>
          <a:xfrm>
            <a:off x="6985408" y="6142944"/>
            <a:ext cx="2910762" cy="58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2" name="Bilde 21">
            <a:extLst>
              <a:ext uri="{FF2B5EF4-FFF2-40B4-BE49-F238E27FC236}">
                <a16:creationId xmlns:a16="http://schemas.microsoft.com/office/drawing/2014/main" id="{94547091-C99C-917C-9CDE-A049C09404FB}"/>
              </a:ext>
            </a:extLst>
          </p:cNvPr>
          <p:cNvPicPr>
            <a:picLocks noChangeAspect="1"/>
          </p:cNvPicPr>
          <p:nvPr/>
        </p:nvPicPr>
        <p:blipFill>
          <a:blip r:embed="rId3"/>
          <a:stretch>
            <a:fillRect/>
          </a:stretch>
        </p:blipFill>
        <p:spPr>
          <a:xfrm>
            <a:off x="1968446" y="3980017"/>
            <a:ext cx="3283158" cy="2192337"/>
          </a:xfrm>
          <a:prstGeom prst="rect">
            <a:avLst/>
          </a:prstGeom>
        </p:spPr>
      </p:pic>
    </p:spTree>
    <p:extLst>
      <p:ext uri="{BB962C8B-B14F-4D97-AF65-F5344CB8AC3E}">
        <p14:creationId xmlns:p14="http://schemas.microsoft.com/office/powerpoint/2010/main" val="3786146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BD62CD9-A662-DC7F-09CA-66133432FED8}"/>
              </a:ext>
            </a:extLst>
          </p:cNvPr>
          <p:cNvGraphicFramePr>
            <a:graphicFrameLocks noChangeAspect="1"/>
          </p:cNvGraphicFramePr>
          <p:nvPr>
            <p:custDataLst>
              <p:tags r:id="rId1"/>
            </p:custDataLst>
          </p:nvPr>
        </p:nvGraphicFramePr>
        <p:xfrm>
          <a:off x="1393" y="775299"/>
          <a:ext cx="1393" cy="1393"/>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12" name="think-cell data - do not delete" hidden="1">
                        <a:extLst>
                          <a:ext uri="{FF2B5EF4-FFF2-40B4-BE49-F238E27FC236}">
                            <a16:creationId xmlns:a16="http://schemas.microsoft.com/office/drawing/2014/main" id="{0BD62CD9-A662-DC7F-09CA-66133432FED8}"/>
                          </a:ext>
                        </a:extLst>
                      </p:cNvPr>
                      <p:cNvPicPr/>
                      <p:nvPr/>
                    </p:nvPicPr>
                    <p:blipFill>
                      <a:blip r:embed="rId5"/>
                      <a:stretch>
                        <a:fillRect/>
                      </a:stretch>
                    </p:blipFill>
                    <p:spPr>
                      <a:xfrm>
                        <a:off x="1393" y="775299"/>
                        <a:ext cx="1393" cy="1393"/>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35CDAD35-FB3D-70B8-1A60-076662DE3FA5}"/>
              </a:ext>
            </a:extLst>
          </p:cNvPr>
          <p:cNvSpPr/>
          <p:nvPr/>
        </p:nvSpPr>
        <p:spPr>
          <a:xfrm>
            <a:off x="5592241" y="2163301"/>
            <a:ext cx="4513609" cy="717986"/>
          </a:xfrm>
          <a:prstGeom prst="roundRect">
            <a:avLst>
              <a:gd name="adj" fmla="val 3944"/>
            </a:avLst>
          </a:prstGeom>
          <a:solidFill>
            <a:schemeClr val="tx1"/>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e-NP"/>
              <a:t>Hvorfor velger vi hjemmekontor?</a:t>
            </a:r>
          </a:p>
        </p:txBody>
      </p:sp>
      <p:sp>
        <p:nvSpPr>
          <p:cNvPr id="8" name="Rectangle: Rounded Corners 7">
            <a:extLst>
              <a:ext uri="{FF2B5EF4-FFF2-40B4-BE49-F238E27FC236}">
                <a16:creationId xmlns:a16="http://schemas.microsoft.com/office/drawing/2014/main" id="{9E72DD7B-B65F-B27D-6913-6DD66BB1EDD9}"/>
              </a:ext>
            </a:extLst>
          </p:cNvPr>
          <p:cNvSpPr/>
          <p:nvPr/>
        </p:nvSpPr>
        <p:spPr>
          <a:xfrm>
            <a:off x="5592241" y="3056437"/>
            <a:ext cx="4513609" cy="2790335"/>
          </a:xfrm>
          <a:prstGeom prst="roundRect">
            <a:avLst>
              <a:gd name="adj" fmla="val 1996"/>
            </a:avLst>
          </a:prstGeom>
          <a:blipFill>
            <a:blip r:embed="rId6">
              <a:alphaModFix amt="25000"/>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01010" indent="-401010">
              <a:buClr>
                <a:schemeClr val="tx1"/>
              </a:buClr>
              <a:buFont typeface="+mj-lt"/>
              <a:buAutoNum type="arabicPeriod"/>
            </a:pPr>
            <a:r>
              <a:rPr lang="ne-NP" sz="1754" b="1">
                <a:solidFill>
                  <a:schemeClr val="tx1"/>
                </a:solidFill>
              </a:rPr>
              <a:t>Spare reisetid      </a:t>
            </a:r>
            <a:endParaRPr lang="nb-NO" sz="1754" b="1" dirty="0">
              <a:solidFill>
                <a:schemeClr val="tx1"/>
              </a:solidFill>
            </a:endParaRPr>
          </a:p>
          <a:p>
            <a:pPr marL="401010" indent="-401010">
              <a:buClr>
                <a:schemeClr val="tx1"/>
              </a:buClr>
              <a:buAutoNum type="arabicPeriod"/>
            </a:pPr>
            <a:endParaRPr lang="ne-NP" sz="1754" b="1" dirty="0">
              <a:solidFill>
                <a:schemeClr val="tx1"/>
              </a:solidFill>
            </a:endParaRPr>
          </a:p>
          <a:p>
            <a:pPr marL="401010" indent="-401010">
              <a:buClr>
                <a:schemeClr val="tx1"/>
              </a:buClr>
              <a:buFont typeface="+mj-lt"/>
              <a:buAutoNum type="arabicPeriod"/>
            </a:pPr>
            <a:r>
              <a:rPr lang="ne-NP" sz="1754" b="1" dirty="0">
                <a:solidFill>
                  <a:schemeClr val="tx1"/>
                </a:solidFill>
              </a:rPr>
              <a:t>Konsentrasjonsarbeid</a:t>
            </a:r>
            <a:endParaRPr lang="nb-NO" sz="1754" b="1" dirty="0">
              <a:solidFill>
                <a:schemeClr val="tx1"/>
              </a:solidFill>
            </a:endParaRPr>
          </a:p>
          <a:p>
            <a:pPr marL="401010" indent="-401010">
              <a:buClr>
                <a:schemeClr val="tx1"/>
              </a:buClr>
              <a:buFont typeface="+mj-lt"/>
              <a:buAutoNum type="arabicPeriod"/>
            </a:pPr>
            <a:endParaRPr lang="ne-NP" sz="1754" b="1" dirty="0">
              <a:solidFill>
                <a:schemeClr val="tx1"/>
              </a:solidFill>
            </a:endParaRPr>
          </a:p>
          <a:p>
            <a:pPr marL="401010" indent="-401010">
              <a:buClr>
                <a:schemeClr val="tx1"/>
              </a:buClr>
              <a:buFont typeface="+mj-lt"/>
              <a:buAutoNum type="arabicPeriod"/>
            </a:pPr>
            <a:r>
              <a:rPr lang="nb-NO" sz="1754" b="1" dirty="0">
                <a:solidFill>
                  <a:schemeClr val="tx1"/>
                </a:solidFill>
              </a:rPr>
              <a:t>D</a:t>
            </a:r>
            <a:r>
              <a:rPr lang="ne-NP" sz="1754" b="1" dirty="0">
                <a:solidFill>
                  <a:schemeClr val="tx1"/>
                </a:solidFill>
              </a:rPr>
              <a:t>igitale møter</a:t>
            </a:r>
          </a:p>
          <a:p>
            <a:pPr algn="ctr">
              <a:buClr>
                <a:schemeClr val="tx1"/>
              </a:buClr>
            </a:pPr>
            <a:endParaRPr lang="ne-NP" sz="1754" b="1" dirty="0">
              <a:solidFill>
                <a:schemeClr val="tx1"/>
              </a:solidFill>
            </a:endParaRPr>
          </a:p>
        </p:txBody>
      </p:sp>
      <p:sp>
        <p:nvSpPr>
          <p:cNvPr id="9" name="Rectangle: Rounded Corners 8">
            <a:extLst>
              <a:ext uri="{FF2B5EF4-FFF2-40B4-BE49-F238E27FC236}">
                <a16:creationId xmlns:a16="http://schemas.microsoft.com/office/drawing/2014/main" id="{6B5487EB-04F3-0181-D9D9-12B20843518D}"/>
              </a:ext>
            </a:extLst>
          </p:cNvPr>
          <p:cNvSpPr/>
          <p:nvPr/>
        </p:nvSpPr>
        <p:spPr>
          <a:xfrm>
            <a:off x="419654" y="2178853"/>
            <a:ext cx="4513609" cy="717986"/>
          </a:xfrm>
          <a:prstGeom prst="roundRect">
            <a:avLst>
              <a:gd name="adj" fmla="val 3944"/>
            </a:avLst>
          </a:prstGeom>
          <a:solidFill>
            <a:schemeClr val="tx1"/>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e-NP"/>
              <a:t>Hvorfor velger vi kontoret?</a:t>
            </a:r>
          </a:p>
        </p:txBody>
      </p:sp>
      <p:sp>
        <p:nvSpPr>
          <p:cNvPr id="10" name="Rectangle: Rounded Corners 9">
            <a:extLst>
              <a:ext uri="{FF2B5EF4-FFF2-40B4-BE49-F238E27FC236}">
                <a16:creationId xmlns:a16="http://schemas.microsoft.com/office/drawing/2014/main" id="{813AC1F7-2D74-3237-2DDB-DAC05A9951D4}"/>
              </a:ext>
            </a:extLst>
          </p:cNvPr>
          <p:cNvSpPr/>
          <p:nvPr/>
        </p:nvSpPr>
        <p:spPr>
          <a:xfrm>
            <a:off x="419654" y="3056437"/>
            <a:ext cx="4513609" cy="2790335"/>
          </a:xfrm>
          <a:prstGeom prst="roundRect">
            <a:avLst>
              <a:gd name="adj" fmla="val 1996"/>
            </a:avLst>
          </a:prstGeom>
          <a:blipFill>
            <a:blip r:embed="rId7">
              <a:alphaModFix amt="25000"/>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01010" indent="-401010">
              <a:buClr>
                <a:schemeClr val="tx1"/>
              </a:buClr>
              <a:buFont typeface="+mj-lt"/>
              <a:buAutoNum type="arabicPeriod"/>
            </a:pPr>
            <a:r>
              <a:rPr lang="nb-NO" sz="1754" b="1" dirty="0">
                <a:solidFill>
                  <a:schemeClr val="tx1"/>
                </a:solidFill>
              </a:rPr>
              <a:t>Faglig interaksjon</a:t>
            </a:r>
          </a:p>
          <a:p>
            <a:pPr marL="401010" indent="-401010">
              <a:buClr>
                <a:schemeClr val="tx1"/>
              </a:buClr>
              <a:buAutoNum type="arabicPeriod"/>
            </a:pPr>
            <a:endParaRPr lang="ne-NP" sz="1754" b="1" dirty="0">
              <a:solidFill>
                <a:schemeClr val="tx1"/>
              </a:solidFill>
            </a:endParaRPr>
          </a:p>
          <a:p>
            <a:pPr marL="401010" indent="-401010">
              <a:buClr>
                <a:schemeClr val="tx1"/>
              </a:buClr>
              <a:buFont typeface="+mj-lt"/>
              <a:buAutoNum type="arabicPeriod"/>
            </a:pPr>
            <a:r>
              <a:rPr lang="ne-NP" sz="1754" b="1" dirty="0">
                <a:solidFill>
                  <a:schemeClr val="tx1"/>
                </a:solidFill>
              </a:rPr>
              <a:t>Tilgang på leder</a:t>
            </a:r>
            <a:endParaRPr lang="nb-NO" sz="1754" b="1" dirty="0">
              <a:solidFill>
                <a:schemeClr val="tx1"/>
              </a:solidFill>
            </a:endParaRPr>
          </a:p>
          <a:p>
            <a:pPr marL="401010" indent="-401010">
              <a:buClr>
                <a:schemeClr val="tx1"/>
              </a:buClr>
              <a:buFont typeface="+mj-lt"/>
              <a:buAutoNum type="arabicPeriod"/>
            </a:pPr>
            <a:endParaRPr lang="ne-NP" sz="1754" b="1" dirty="0">
              <a:solidFill>
                <a:schemeClr val="tx1"/>
              </a:solidFill>
            </a:endParaRPr>
          </a:p>
          <a:p>
            <a:pPr marL="401010" indent="-401010">
              <a:buClr>
                <a:schemeClr val="tx1"/>
              </a:buClr>
              <a:buFont typeface="+mj-lt"/>
              <a:buAutoNum type="arabicPeriod"/>
            </a:pPr>
            <a:r>
              <a:rPr lang="nb-NO" sz="1754" b="1" dirty="0">
                <a:solidFill>
                  <a:schemeClr val="tx1"/>
                </a:solidFill>
              </a:rPr>
              <a:t>Sosialt samvær</a:t>
            </a:r>
            <a:endParaRPr lang="ne-NP" sz="1754" b="1" dirty="0">
              <a:solidFill>
                <a:schemeClr val="tx1"/>
              </a:solidFill>
            </a:endParaRPr>
          </a:p>
          <a:p>
            <a:pPr algn="ctr">
              <a:buClr>
                <a:schemeClr val="tx1"/>
              </a:buClr>
            </a:pPr>
            <a:endParaRPr lang="ne-NP" sz="1754" b="1" dirty="0"/>
          </a:p>
        </p:txBody>
      </p:sp>
      <p:sp>
        <p:nvSpPr>
          <p:cNvPr id="2" name="TextBox 1">
            <a:extLst>
              <a:ext uri="{FF2B5EF4-FFF2-40B4-BE49-F238E27FC236}">
                <a16:creationId xmlns:a16="http://schemas.microsoft.com/office/drawing/2014/main" id="{D94E6AD6-6CC1-8C87-C876-74B3898982A6}"/>
              </a:ext>
            </a:extLst>
          </p:cNvPr>
          <p:cNvSpPr txBox="1"/>
          <p:nvPr/>
        </p:nvSpPr>
        <p:spPr>
          <a:xfrm>
            <a:off x="419654" y="1035025"/>
            <a:ext cx="5041445" cy="380810"/>
          </a:xfrm>
          <a:prstGeom prst="rect">
            <a:avLst/>
          </a:prstGeom>
          <a:noFill/>
        </p:spPr>
        <p:txBody>
          <a:bodyPr wrap="none" lIns="0" tIns="0" rIns="0" bIns="0" rtlCol="0">
            <a:spAutoFit/>
          </a:bodyPr>
          <a:lstStyle/>
          <a:p>
            <a:pPr algn="l">
              <a:lnSpc>
                <a:spcPct val="105000"/>
              </a:lnSpc>
            </a:pPr>
            <a:r>
              <a:rPr lang="nb-NO" sz="2456" dirty="0">
                <a:solidFill>
                  <a:schemeClr val="accent1"/>
                </a:solidFill>
                <a:latin typeface="Fold Grotesque Pro Light" panose="020B0303030201040103" pitchFamily="34" charset="0"/>
              </a:rPr>
              <a:t>Viktigste drivere for valg av arbeidssted</a:t>
            </a:r>
          </a:p>
        </p:txBody>
      </p:sp>
    </p:spTree>
    <p:extLst>
      <p:ext uri="{BB962C8B-B14F-4D97-AF65-F5344CB8AC3E}">
        <p14:creationId xmlns:p14="http://schemas.microsoft.com/office/powerpoint/2010/main" val="205070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9D46D-F26E-41E3-EE7D-B02AE8290EBA}"/>
            </a:ext>
          </a:extLst>
        </p:cNvPr>
        <p:cNvGrpSpPr/>
        <p:nvPr/>
      </p:nvGrpSpPr>
      <p:grpSpPr>
        <a:xfrm>
          <a:off x="0" y="0"/>
          <a:ext cx="0" cy="0"/>
          <a:chOff x="0" y="0"/>
          <a:chExt cx="0" cy="0"/>
        </a:xfrm>
      </p:grpSpPr>
      <p:pic>
        <p:nvPicPr>
          <p:cNvPr id="5" name="Plassholder for bilde 4">
            <a:extLst>
              <a:ext uri="{FF2B5EF4-FFF2-40B4-BE49-F238E27FC236}">
                <a16:creationId xmlns:a16="http://schemas.microsoft.com/office/drawing/2014/main" id="{2E3C1360-D454-3C87-8699-9742C39E92B2}"/>
              </a:ext>
            </a:extLst>
          </p:cNvPr>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t="7784" b="7784"/>
          <a:stretch/>
        </p:blipFill>
        <p:spPr>
          <a:xfrm>
            <a:off x="18" y="773915"/>
            <a:ext cx="10693382" cy="6015029"/>
          </a:xfrm>
          <a:prstGeom prst="roundRect">
            <a:avLst>
              <a:gd name="adj" fmla="val 1083"/>
            </a:avLst>
          </a:prstGeom>
          <a:noFill/>
        </p:spPr>
      </p:pic>
      <p:sp>
        <p:nvSpPr>
          <p:cNvPr id="2" name="Plassholder for tekst 1">
            <a:extLst>
              <a:ext uri="{FF2B5EF4-FFF2-40B4-BE49-F238E27FC236}">
                <a16:creationId xmlns:a16="http://schemas.microsoft.com/office/drawing/2014/main" id="{8C1422BC-EFB9-3D46-CE99-0EFDF3589444}"/>
              </a:ext>
            </a:extLst>
          </p:cNvPr>
          <p:cNvSpPr>
            <a:spLocks noGrp="1"/>
          </p:cNvSpPr>
          <p:nvPr>
            <p:ph type="body" sz="quarter" idx="28"/>
          </p:nvPr>
        </p:nvSpPr>
        <p:spPr>
          <a:xfrm>
            <a:off x="1778056" y="4284646"/>
            <a:ext cx="3568644" cy="1740460"/>
          </a:xfrm>
        </p:spPr>
        <p:txBody>
          <a:bodyPr wrap="square">
            <a:normAutofit/>
          </a:bodyPr>
          <a:lstStyle/>
          <a:p>
            <a:pPr>
              <a:spcAft>
                <a:spcPts val="526"/>
              </a:spcAft>
            </a:pPr>
            <a:r>
              <a:rPr lang="nb-NO"/>
              <a:t>Takk for meg!</a:t>
            </a:r>
            <a:endParaRPr lang="ne-NP"/>
          </a:p>
        </p:txBody>
      </p:sp>
      <p:sp>
        <p:nvSpPr>
          <p:cNvPr id="10" name="Text Placeholder 3">
            <a:extLst>
              <a:ext uri="{FF2B5EF4-FFF2-40B4-BE49-F238E27FC236}">
                <a16:creationId xmlns:a16="http://schemas.microsoft.com/office/drawing/2014/main" id="{9912591A-6969-93F8-0B24-30E3FB64CB4B}"/>
              </a:ext>
            </a:extLst>
          </p:cNvPr>
          <p:cNvSpPr>
            <a:spLocks noGrp="1"/>
          </p:cNvSpPr>
          <p:nvPr>
            <p:ph type="body" sz="quarter" idx="29"/>
          </p:nvPr>
        </p:nvSpPr>
        <p:spPr>
          <a:xfrm>
            <a:off x="5346700" y="1898627"/>
            <a:ext cx="1904065" cy="758088"/>
          </a:xfrm>
        </p:spPr>
        <p:txBody>
          <a:bodyPr/>
          <a:lstStyle/>
          <a:p>
            <a:endParaRPr lang="ne-NP" dirty="0"/>
          </a:p>
        </p:txBody>
      </p:sp>
    </p:spTree>
    <p:extLst>
      <p:ext uri="{BB962C8B-B14F-4D97-AF65-F5344CB8AC3E}">
        <p14:creationId xmlns:p14="http://schemas.microsoft.com/office/powerpoint/2010/main" val="209136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AD2B8-2934-F509-ECE0-77C7B148021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9AFA1CD-8528-D6BF-C1CC-4DC7C08C4133}"/>
              </a:ext>
            </a:extLst>
          </p:cNvPr>
          <p:cNvGraphicFramePr>
            <a:graphicFrameLocks noChangeAspect="1"/>
          </p:cNvGraphicFramePr>
          <p:nvPr>
            <p:custDataLst>
              <p:tags r:id="rId1"/>
            </p:custDataLst>
          </p:nvPr>
        </p:nvGraphicFramePr>
        <p:xfrm>
          <a:off x="1393" y="775299"/>
          <a:ext cx="1393" cy="1393"/>
        </p:xfrm>
        <a:graphic>
          <a:graphicData uri="http://schemas.openxmlformats.org/presentationml/2006/ole">
            <mc:AlternateContent xmlns:mc="http://schemas.openxmlformats.org/markup-compatibility/2006">
              <mc:Choice xmlns:v="urn:schemas-microsoft-com:vml" Requires="v">
                <p:oleObj name="think-cell Slide" r:id="rId4" imgW="348" imgH="347" progId="TCLayout.ActiveDocument.1">
                  <p:embed/>
                </p:oleObj>
              </mc:Choice>
              <mc:Fallback>
                <p:oleObj name="think-cell Slide" r:id="rId4" imgW="348" imgH="347" progId="TCLayout.ActiveDocument.1">
                  <p:embed/>
                  <p:pic>
                    <p:nvPicPr>
                      <p:cNvPr id="18" name="think-cell data - do not delete" hidden="1">
                        <a:extLst>
                          <a:ext uri="{FF2B5EF4-FFF2-40B4-BE49-F238E27FC236}">
                            <a16:creationId xmlns:a16="http://schemas.microsoft.com/office/drawing/2014/main" id="{99AFA1CD-8528-D6BF-C1CC-4DC7C08C4133}"/>
                          </a:ext>
                        </a:extLst>
                      </p:cNvPr>
                      <p:cNvPicPr/>
                      <p:nvPr/>
                    </p:nvPicPr>
                    <p:blipFill>
                      <a:blip r:embed="rId5"/>
                      <a:stretch>
                        <a:fillRect/>
                      </a:stretch>
                    </p:blipFill>
                    <p:spPr>
                      <a:xfrm>
                        <a:off x="1393" y="775299"/>
                        <a:ext cx="1393" cy="1393"/>
                      </a:xfrm>
                      <a:prstGeom prst="rect">
                        <a:avLst/>
                      </a:prstGeom>
                    </p:spPr>
                  </p:pic>
                </p:oleObj>
              </mc:Fallback>
            </mc:AlternateContent>
          </a:graphicData>
        </a:graphic>
      </p:graphicFrame>
      <p:sp>
        <p:nvSpPr>
          <p:cNvPr id="4" name="Plassholder for tekst 3">
            <a:extLst>
              <a:ext uri="{FF2B5EF4-FFF2-40B4-BE49-F238E27FC236}">
                <a16:creationId xmlns:a16="http://schemas.microsoft.com/office/drawing/2014/main" id="{D2C88A77-BB47-ACE1-0CD1-50745548C405}"/>
              </a:ext>
            </a:extLst>
          </p:cNvPr>
          <p:cNvSpPr>
            <a:spLocks noGrp="1"/>
          </p:cNvSpPr>
          <p:nvPr>
            <p:ph type="body" sz="quarter" idx="11"/>
          </p:nvPr>
        </p:nvSpPr>
        <p:spPr/>
        <p:txBody>
          <a:bodyPr/>
          <a:lstStyle/>
          <a:p>
            <a:r>
              <a:rPr lang="nb-NO" dirty="0"/>
              <a:t>Kontraktsutløp byr på muligheter</a:t>
            </a:r>
          </a:p>
        </p:txBody>
      </p:sp>
      <p:sp>
        <p:nvSpPr>
          <p:cNvPr id="5" name="Plassholder for tekst 4">
            <a:extLst>
              <a:ext uri="{FF2B5EF4-FFF2-40B4-BE49-F238E27FC236}">
                <a16:creationId xmlns:a16="http://schemas.microsoft.com/office/drawing/2014/main" id="{F603CEA5-3FE9-F6FF-E6D0-A408BF7A230E}"/>
              </a:ext>
            </a:extLst>
          </p:cNvPr>
          <p:cNvSpPr>
            <a:spLocks noGrp="1"/>
          </p:cNvSpPr>
          <p:nvPr>
            <p:ph type="body" sz="quarter" idx="13"/>
          </p:nvPr>
        </p:nvSpPr>
        <p:spPr>
          <a:xfrm>
            <a:off x="11275045" y="6387833"/>
            <a:ext cx="65" cy="97271"/>
          </a:xfrm>
        </p:spPr>
        <p:txBody>
          <a:bodyPr/>
          <a:lstStyle/>
          <a:p>
            <a:endParaRPr lang="nb-NO"/>
          </a:p>
        </p:txBody>
      </p:sp>
      <p:sp>
        <p:nvSpPr>
          <p:cNvPr id="2" name="Rectangle: Rounded Corners 162">
            <a:extLst>
              <a:ext uri="{FF2B5EF4-FFF2-40B4-BE49-F238E27FC236}">
                <a16:creationId xmlns:a16="http://schemas.microsoft.com/office/drawing/2014/main" id="{15CB5B80-9B5A-BC88-37EB-9A9A147F58F8}"/>
              </a:ext>
            </a:extLst>
          </p:cNvPr>
          <p:cNvSpPr/>
          <p:nvPr/>
        </p:nvSpPr>
        <p:spPr>
          <a:xfrm>
            <a:off x="1017644" y="2997598"/>
            <a:ext cx="2829475" cy="2498929"/>
          </a:xfrm>
          <a:prstGeom prst="roundRect">
            <a:avLst>
              <a:gd name="adj" fmla="val 3431"/>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rtl="0"/>
            <a:endParaRPr lang="es-UY" sz="1579" kern="1200">
              <a:solidFill>
                <a:srgbClr val="FFFFFF"/>
              </a:solidFill>
              <a:latin typeface="Fold Grotesque Pro Light"/>
            </a:endParaRPr>
          </a:p>
        </p:txBody>
      </p:sp>
      <p:sp>
        <p:nvSpPr>
          <p:cNvPr id="3" name="Freeform 67">
            <a:extLst>
              <a:ext uri="{FF2B5EF4-FFF2-40B4-BE49-F238E27FC236}">
                <a16:creationId xmlns:a16="http://schemas.microsoft.com/office/drawing/2014/main" id="{BEE71691-A7D9-68B3-1472-E28C03A71144}"/>
              </a:ext>
            </a:extLst>
          </p:cNvPr>
          <p:cNvSpPr>
            <a:spLocks noChangeArrowheads="1"/>
          </p:cNvSpPr>
          <p:nvPr/>
        </p:nvSpPr>
        <p:spPr bwMode="auto">
          <a:xfrm>
            <a:off x="1718620" y="1954060"/>
            <a:ext cx="714576" cy="714575"/>
          </a:xfrm>
          <a:custGeom>
            <a:avLst/>
            <a:gdLst>
              <a:gd name="T0" fmla="*/ 637 w 1274"/>
              <a:gd name="T1" fmla="*/ 0 h 1275"/>
              <a:gd name="T2" fmla="*/ 637 w 1274"/>
              <a:gd name="T3" fmla="*/ 0 h 1275"/>
              <a:gd name="T4" fmla="*/ 1273 w 1274"/>
              <a:gd name="T5" fmla="*/ 637 h 1275"/>
              <a:gd name="T6" fmla="*/ 1273 w 1274"/>
              <a:gd name="T7" fmla="*/ 637 h 1275"/>
              <a:gd name="T8" fmla="*/ 637 w 1274"/>
              <a:gd name="T9" fmla="*/ 1274 h 1275"/>
              <a:gd name="T10" fmla="*/ 637 w 1274"/>
              <a:gd name="T11" fmla="*/ 1274 h 1275"/>
              <a:gd name="T12" fmla="*/ 0 w 1274"/>
              <a:gd name="T13" fmla="*/ 637 h 1275"/>
              <a:gd name="T14" fmla="*/ 0 w 1274"/>
              <a:gd name="T15" fmla="*/ 637 h 1275"/>
              <a:gd name="T16" fmla="*/ 637 w 1274"/>
              <a:gd name="T17" fmla="*/ 0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4" h="1275">
                <a:moveTo>
                  <a:pt x="637" y="0"/>
                </a:moveTo>
                <a:lnTo>
                  <a:pt x="637" y="0"/>
                </a:lnTo>
                <a:cubicBezTo>
                  <a:pt x="988" y="0"/>
                  <a:pt x="1273" y="285"/>
                  <a:pt x="1273" y="637"/>
                </a:cubicBezTo>
                <a:lnTo>
                  <a:pt x="1273" y="637"/>
                </a:lnTo>
                <a:cubicBezTo>
                  <a:pt x="1273" y="988"/>
                  <a:pt x="988" y="1274"/>
                  <a:pt x="637" y="1274"/>
                </a:cubicBezTo>
                <a:lnTo>
                  <a:pt x="637" y="1274"/>
                </a:lnTo>
                <a:cubicBezTo>
                  <a:pt x="284" y="1274"/>
                  <a:pt x="0" y="988"/>
                  <a:pt x="0" y="637"/>
                </a:cubicBezTo>
                <a:lnTo>
                  <a:pt x="0" y="637"/>
                </a:lnTo>
                <a:cubicBezTo>
                  <a:pt x="0" y="285"/>
                  <a:pt x="284" y="0"/>
                  <a:pt x="637" y="0"/>
                </a:cubicBezTo>
              </a:path>
            </a:pathLst>
          </a:custGeom>
          <a:solidFill>
            <a:schemeClr val="bg1"/>
          </a:solidFill>
          <a:ln>
            <a:noFill/>
          </a:ln>
          <a:effectLst/>
        </p:spPr>
        <p:txBody>
          <a:bodyPr wrap="none" anchor="ctr"/>
          <a:lstStyle/>
          <a:p>
            <a:pPr algn="l" defTabSz="802020" rtl="0"/>
            <a:endParaRPr lang="en-US" sz="3158" kern="1200">
              <a:solidFill>
                <a:srgbClr val="3C0025"/>
              </a:solidFill>
              <a:latin typeface="Lato Light" panose="020F0502020204030203" pitchFamily="34" charset="0"/>
              <a:ea typeface="+mn-ea"/>
              <a:cs typeface="+mn-cs"/>
            </a:endParaRPr>
          </a:p>
        </p:txBody>
      </p:sp>
      <p:sp>
        <p:nvSpPr>
          <p:cNvPr id="6" name="TextBox 43">
            <a:extLst>
              <a:ext uri="{FF2B5EF4-FFF2-40B4-BE49-F238E27FC236}">
                <a16:creationId xmlns:a16="http://schemas.microsoft.com/office/drawing/2014/main" id="{5C51E440-52A3-1BF1-29F2-18F7352AA393}"/>
              </a:ext>
            </a:extLst>
          </p:cNvPr>
          <p:cNvSpPr txBox="1"/>
          <p:nvPr/>
        </p:nvSpPr>
        <p:spPr>
          <a:xfrm>
            <a:off x="1714271" y="5126393"/>
            <a:ext cx="723275" cy="335348"/>
          </a:xfrm>
          <a:prstGeom prst="rect">
            <a:avLst/>
          </a:prstGeom>
          <a:noFill/>
        </p:spPr>
        <p:txBody>
          <a:bodyPr wrap="none" rtlCol="0" anchor="ctr">
            <a:spAutoFit/>
          </a:bodyPr>
          <a:lstStyle/>
          <a:p>
            <a:pPr algn="ctr" defTabSz="802020" rtl="0"/>
            <a:r>
              <a:rPr lang="en-US" sz="1579" b="1" kern="1200">
                <a:solidFill>
                  <a:srgbClr val="FFFFFF"/>
                </a:solidFill>
                <a:latin typeface="Arial Black" panose="020B0A04020102020204" pitchFamily="34" charset="0"/>
                <a:ea typeface="+mn-ea"/>
                <a:cs typeface="Poppins" pitchFamily="2" charset="77"/>
              </a:rPr>
              <a:t>2017</a:t>
            </a:r>
          </a:p>
        </p:txBody>
      </p:sp>
      <p:sp>
        <p:nvSpPr>
          <p:cNvPr id="7" name="TextBox 52">
            <a:extLst>
              <a:ext uri="{FF2B5EF4-FFF2-40B4-BE49-F238E27FC236}">
                <a16:creationId xmlns:a16="http://schemas.microsoft.com/office/drawing/2014/main" id="{25345E40-F6C1-4C8F-53F2-6216023D09F6}"/>
              </a:ext>
            </a:extLst>
          </p:cNvPr>
          <p:cNvSpPr txBox="1"/>
          <p:nvPr/>
        </p:nvSpPr>
        <p:spPr>
          <a:xfrm>
            <a:off x="1017643" y="3541278"/>
            <a:ext cx="2829474" cy="308226"/>
          </a:xfrm>
          <a:prstGeom prst="rect">
            <a:avLst/>
          </a:prstGeom>
          <a:noFill/>
        </p:spPr>
        <p:txBody>
          <a:bodyPr wrap="square" rtlCol="0" anchor="b" anchorCtr="0">
            <a:spAutoFit/>
          </a:bodyPr>
          <a:lstStyle/>
          <a:p>
            <a:pPr algn="ctr" defTabSz="802020" rtl="0"/>
            <a:r>
              <a:rPr lang="nb-NO" sz="1403" b="1" kern="1200">
                <a:solidFill>
                  <a:srgbClr val="3C0025"/>
                </a:solidFill>
                <a:latin typeface="Fold Grotesque Pro Light"/>
                <a:ea typeface="+mn-ea"/>
                <a:cs typeface="+mn-cs"/>
              </a:rPr>
              <a:t>Sjelden mulighet</a:t>
            </a:r>
          </a:p>
        </p:txBody>
      </p:sp>
      <p:sp>
        <p:nvSpPr>
          <p:cNvPr id="9" name="TextBox 116">
            <a:extLst>
              <a:ext uri="{FF2B5EF4-FFF2-40B4-BE49-F238E27FC236}">
                <a16:creationId xmlns:a16="http://schemas.microsoft.com/office/drawing/2014/main" id="{E093C9F6-010E-1760-010D-00C6A1C8B3F7}"/>
              </a:ext>
            </a:extLst>
          </p:cNvPr>
          <p:cNvSpPr txBox="1"/>
          <p:nvPr/>
        </p:nvSpPr>
        <p:spPr>
          <a:xfrm>
            <a:off x="1017643" y="3924658"/>
            <a:ext cx="2829475" cy="1354345"/>
          </a:xfrm>
          <a:prstGeom prst="rect">
            <a:avLst/>
          </a:prstGeom>
          <a:noFill/>
        </p:spPr>
        <p:txBody>
          <a:bodyPr wrap="square" rtlCol="0">
            <a:spAutoFit/>
          </a:bodyPr>
          <a:lstStyle/>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Leiekontrakter er typisk på 5-10 år og forplikter store beløp</a:t>
            </a:r>
          </a:p>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Organisatorisk og økonomisk; valgene får store og langsiktige konsekvenser</a:t>
            </a:r>
          </a:p>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Andre forutsetninger i dag enn ved inngåelse av tidligere leieavtale</a:t>
            </a:r>
          </a:p>
        </p:txBody>
      </p:sp>
      <p:sp>
        <p:nvSpPr>
          <p:cNvPr id="10" name="Rectangle: Rounded Corners 162">
            <a:extLst>
              <a:ext uri="{FF2B5EF4-FFF2-40B4-BE49-F238E27FC236}">
                <a16:creationId xmlns:a16="http://schemas.microsoft.com/office/drawing/2014/main" id="{2E7D2B79-67A7-53B3-FCE5-4140FB117F15}"/>
              </a:ext>
            </a:extLst>
          </p:cNvPr>
          <p:cNvSpPr/>
          <p:nvPr/>
        </p:nvSpPr>
        <p:spPr>
          <a:xfrm>
            <a:off x="4000100" y="2997598"/>
            <a:ext cx="2829475" cy="2498929"/>
          </a:xfrm>
          <a:prstGeom prst="roundRect">
            <a:avLst>
              <a:gd name="adj" fmla="val 3431"/>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rtl="0"/>
            <a:endParaRPr lang="es-UY" sz="1579" kern="1200">
              <a:solidFill>
                <a:srgbClr val="FFFFFF"/>
              </a:solidFill>
              <a:latin typeface="Fold Grotesque Pro Light"/>
            </a:endParaRPr>
          </a:p>
        </p:txBody>
      </p:sp>
      <p:sp>
        <p:nvSpPr>
          <p:cNvPr id="11" name="TextBox 52">
            <a:extLst>
              <a:ext uri="{FF2B5EF4-FFF2-40B4-BE49-F238E27FC236}">
                <a16:creationId xmlns:a16="http://schemas.microsoft.com/office/drawing/2014/main" id="{5A8ABE70-4879-6069-9ECC-2AC85EF6348E}"/>
              </a:ext>
            </a:extLst>
          </p:cNvPr>
          <p:cNvSpPr txBox="1"/>
          <p:nvPr/>
        </p:nvSpPr>
        <p:spPr>
          <a:xfrm>
            <a:off x="4000099" y="3541278"/>
            <a:ext cx="2829474" cy="308226"/>
          </a:xfrm>
          <a:prstGeom prst="rect">
            <a:avLst/>
          </a:prstGeom>
          <a:noFill/>
        </p:spPr>
        <p:txBody>
          <a:bodyPr wrap="square" rtlCol="0" anchor="b" anchorCtr="0">
            <a:spAutoFit/>
          </a:bodyPr>
          <a:lstStyle/>
          <a:p>
            <a:pPr algn="ctr" defTabSz="802020" rtl="0"/>
            <a:r>
              <a:rPr lang="nb-NO" sz="1403" b="1" kern="1200">
                <a:solidFill>
                  <a:srgbClr val="3C0025"/>
                </a:solidFill>
                <a:latin typeface="Fold Grotesque Pro Light"/>
                <a:ea typeface="+mn-ea"/>
                <a:cs typeface="+mn-cs"/>
              </a:rPr>
              <a:t>Stor endringskraft</a:t>
            </a:r>
          </a:p>
        </p:txBody>
      </p:sp>
      <p:sp>
        <p:nvSpPr>
          <p:cNvPr id="12" name="TextBox 116">
            <a:extLst>
              <a:ext uri="{FF2B5EF4-FFF2-40B4-BE49-F238E27FC236}">
                <a16:creationId xmlns:a16="http://schemas.microsoft.com/office/drawing/2014/main" id="{232B62A4-6C50-8EA6-124C-951B5D60AA21}"/>
              </a:ext>
            </a:extLst>
          </p:cNvPr>
          <p:cNvSpPr txBox="1"/>
          <p:nvPr/>
        </p:nvSpPr>
        <p:spPr>
          <a:xfrm>
            <a:off x="4000099" y="3924658"/>
            <a:ext cx="2829475" cy="912301"/>
          </a:xfrm>
          <a:prstGeom prst="rect">
            <a:avLst/>
          </a:prstGeom>
          <a:noFill/>
        </p:spPr>
        <p:txBody>
          <a:bodyPr wrap="square" rtlCol="0">
            <a:spAutoFit/>
          </a:bodyPr>
          <a:lstStyle/>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En flytting åpner et vindu for endring</a:t>
            </a:r>
          </a:p>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Organisasjonen er mottakelig for endringer som er vanskelige å få tid, energi og aksept for i normal drift</a:t>
            </a:r>
          </a:p>
        </p:txBody>
      </p:sp>
      <p:sp>
        <p:nvSpPr>
          <p:cNvPr id="13" name="Rectangle: Rounded Corners 162">
            <a:extLst>
              <a:ext uri="{FF2B5EF4-FFF2-40B4-BE49-F238E27FC236}">
                <a16:creationId xmlns:a16="http://schemas.microsoft.com/office/drawing/2014/main" id="{A01CEBAC-000C-9A2F-D6E5-A94F64DFF3B3}"/>
              </a:ext>
            </a:extLst>
          </p:cNvPr>
          <p:cNvSpPr/>
          <p:nvPr/>
        </p:nvSpPr>
        <p:spPr>
          <a:xfrm>
            <a:off x="6982555" y="2997598"/>
            <a:ext cx="2829475" cy="2498929"/>
          </a:xfrm>
          <a:prstGeom prst="roundRect">
            <a:avLst>
              <a:gd name="adj" fmla="val 3431"/>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rtl="0"/>
            <a:endParaRPr lang="es-UY" sz="1579" kern="1200">
              <a:solidFill>
                <a:srgbClr val="FFFFFF"/>
              </a:solidFill>
              <a:latin typeface="Fold Grotesque Pro Light"/>
            </a:endParaRPr>
          </a:p>
        </p:txBody>
      </p:sp>
      <p:sp>
        <p:nvSpPr>
          <p:cNvPr id="30" name="TextBox 52">
            <a:extLst>
              <a:ext uri="{FF2B5EF4-FFF2-40B4-BE49-F238E27FC236}">
                <a16:creationId xmlns:a16="http://schemas.microsoft.com/office/drawing/2014/main" id="{0464D04C-FA30-5378-88A7-0647B3E906C4}"/>
              </a:ext>
            </a:extLst>
          </p:cNvPr>
          <p:cNvSpPr txBox="1"/>
          <p:nvPr/>
        </p:nvSpPr>
        <p:spPr>
          <a:xfrm>
            <a:off x="6982554" y="3541278"/>
            <a:ext cx="2829474" cy="308226"/>
          </a:xfrm>
          <a:prstGeom prst="rect">
            <a:avLst/>
          </a:prstGeom>
          <a:noFill/>
        </p:spPr>
        <p:txBody>
          <a:bodyPr wrap="square" rtlCol="0" anchor="b" anchorCtr="0">
            <a:spAutoFit/>
          </a:bodyPr>
          <a:lstStyle/>
          <a:p>
            <a:pPr algn="ctr" defTabSz="802020" rtl="0"/>
            <a:r>
              <a:rPr lang="nb-NO" sz="1403" b="1" kern="1200">
                <a:solidFill>
                  <a:srgbClr val="3C0025"/>
                </a:solidFill>
                <a:latin typeface="Fold Grotesque Pro Light"/>
                <a:ea typeface="+mn-ea"/>
                <a:cs typeface="+mn-cs"/>
              </a:rPr>
              <a:t>Tilpasse til fremtiden</a:t>
            </a:r>
          </a:p>
        </p:txBody>
      </p:sp>
      <p:sp>
        <p:nvSpPr>
          <p:cNvPr id="31" name="TextBox 116">
            <a:extLst>
              <a:ext uri="{FF2B5EF4-FFF2-40B4-BE49-F238E27FC236}">
                <a16:creationId xmlns:a16="http://schemas.microsoft.com/office/drawing/2014/main" id="{606BF17E-24DC-90EB-C328-76321315683F}"/>
              </a:ext>
            </a:extLst>
          </p:cNvPr>
          <p:cNvSpPr txBox="1"/>
          <p:nvPr/>
        </p:nvSpPr>
        <p:spPr>
          <a:xfrm>
            <a:off x="6982554" y="3924657"/>
            <a:ext cx="2829475" cy="1290225"/>
          </a:xfrm>
          <a:prstGeom prst="rect">
            <a:avLst/>
          </a:prstGeom>
          <a:noFill/>
        </p:spPr>
        <p:txBody>
          <a:bodyPr wrap="square" rtlCol="0">
            <a:spAutoFit/>
          </a:bodyPr>
          <a:lstStyle/>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Dagens arbeidsmetoder speiles ikke av dagens fysiske løsninger</a:t>
            </a:r>
          </a:p>
          <a:p>
            <a:pPr marL="250631" indent="-250631" algn="l" defTabSz="802020" rtl="0">
              <a:spcBef>
                <a:spcPts val="526"/>
              </a:spcBef>
              <a:buFont typeface="Arial" panose="020B0604020202020204" pitchFamily="34" charset="0"/>
              <a:buChar char="•"/>
            </a:pPr>
            <a:r>
              <a:rPr lang="nb-NO" sz="1228" kern="1200">
                <a:solidFill>
                  <a:srgbClr val="3C0025"/>
                </a:solidFill>
                <a:latin typeface="Stainless UltraLight" panose="02000503040000020003" pitchFamily="50" charset="0"/>
                <a:ea typeface="+mn-ea"/>
                <a:cs typeface="+mn-cs"/>
              </a:rPr>
              <a:t>Lokalene og arbeidsplasskonseptet må matche ambisjonene for kompetanse-, kultur- og organisasjonsutvikling!</a:t>
            </a:r>
          </a:p>
        </p:txBody>
      </p:sp>
      <p:pic>
        <p:nvPicPr>
          <p:cNvPr id="32" name="Bilde 36" descr="Et bilde som inneholder lukk&#10;&#10;Automatisk generert beskrivelse">
            <a:extLst>
              <a:ext uri="{FF2B5EF4-FFF2-40B4-BE49-F238E27FC236}">
                <a16:creationId xmlns:a16="http://schemas.microsoft.com/office/drawing/2014/main" id="{D9FE9E7A-4297-D2EA-7BB2-B0A36493019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8088"/>
          <a:stretch/>
        </p:blipFill>
        <p:spPr>
          <a:xfrm>
            <a:off x="1154185" y="1910995"/>
            <a:ext cx="2556391" cy="1566416"/>
          </a:xfrm>
          <a:prstGeom prst="roundRect">
            <a:avLst>
              <a:gd name="adj" fmla="val 3556"/>
            </a:avLst>
          </a:prstGeom>
        </p:spPr>
      </p:pic>
      <p:pic>
        <p:nvPicPr>
          <p:cNvPr id="33" name="Bilde 38" descr="Et bilde som inneholder tekst, innendørs, mann, bord&#10;&#10;Automatisk generert beskrivelse">
            <a:extLst>
              <a:ext uri="{FF2B5EF4-FFF2-40B4-BE49-F238E27FC236}">
                <a16:creationId xmlns:a16="http://schemas.microsoft.com/office/drawing/2014/main" id="{D470CBD1-F952-D36D-B664-ABDA1EFA8049}"/>
              </a:ext>
            </a:extLst>
          </p:cNvPr>
          <p:cNvPicPr>
            <a:picLocks noChangeAspect="1"/>
          </p:cNvPicPr>
          <p:nvPr/>
        </p:nvPicPr>
        <p:blipFill rotWithShape="1">
          <a:blip r:embed="rId7">
            <a:extLst>
              <a:ext uri="{28A0092B-C50C-407E-A947-70E740481C1C}">
                <a14:useLocalDpi xmlns:a14="http://schemas.microsoft.com/office/drawing/2010/main" val="0"/>
              </a:ext>
            </a:extLst>
          </a:blip>
          <a:srcRect l="7558" r="6379"/>
          <a:stretch/>
        </p:blipFill>
        <p:spPr>
          <a:xfrm>
            <a:off x="7119095" y="1910996"/>
            <a:ext cx="2556391" cy="1566416"/>
          </a:xfrm>
          <a:prstGeom prst="roundRect">
            <a:avLst>
              <a:gd name="adj" fmla="val 3556"/>
            </a:avLst>
          </a:prstGeom>
        </p:spPr>
      </p:pic>
      <p:pic>
        <p:nvPicPr>
          <p:cNvPr id="34" name="Plassholder for bilde 34" descr="Et bilde som inneholder bygningsmateriale, stein&#10;&#10;Automatisk generert beskrivelse">
            <a:extLst>
              <a:ext uri="{FF2B5EF4-FFF2-40B4-BE49-F238E27FC236}">
                <a16:creationId xmlns:a16="http://schemas.microsoft.com/office/drawing/2014/main" id="{5B19B344-BF9F-602F-9CF6-AFCEB2BEBDC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769" t="10464" r="4357" b="7627"/>
          <a:stretch/>
        </p:blipFill>
        <p:spPr>
          <a:xfrm>
            <a:off x="4136639" y="1931270"/>
            <a:ext cx="2556391" cy="1566416"/>
          </a:xfrm>
          <a:prstGeom prst="roundRect">
            <a:avLst>
              <a:gd name="adj" fmla="val 3556"/>
            </a:avLst>
          </a:prstGeom>
        </p:spPr>
      </p:pic>
    </p:spTree>
    <p:extLst>
      <p:ext uri="{BB962C8B-B14F-4D97-AF65-F5344CB8AC3E}">
        <p14:creationId xmlns:p14="http://schemas.microsoft.com/office/powerpoint/2010/main" val="251239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5C6F366-C168-9AB0-99D1-004D4BE6A59D}"/>
              </a:ext>
            </a:extLst>
          </p:cNvPr>
          <p:cNvSpPr>
            <a:spLocks noGrp="1"/>
          </p:cNvSpPr>
          <p:nvPr>
            <p:ph sz="quarter" idx="69"/>
          </p:nvPr>
        </p:nvSpPr>
        <p:spPr>
          <a:xfrm>
            <a:off x="230837" y="3876106"/>
            <a:ext cx="2415488" cy="2518422"/>
          </a:xfrm>
          <a:effectLst>
            <a:outerShdw blurRad="50800" dist="38100" dir="2700000" algn="tl" rotWithShape="0">
              <a:prstClr val="black">
                <a:alpha val="40000"/>
              </a:prstClr>
            </a:outerShdw>
          </a:effectLst>
        </p:spPr>
        <p:txBody>
          <a:bodyPr/>
          <a:lstStyle/>
          <a:p>
            <a:r>
              <a:rPr lang="ne-NP" b="1"/>
              <a:t>Sirkulært tankesett</a:t>
            </a:r>
          </a:p>
          <a:p>
            <a:r>
              <a:rPr lang="ne-NP"/>
              <a:t>Vi kjøper færre møbler, og har et større fokus på sirkulære løsninger som gjenbruk, oppussing, og kjøp/salg av bruktmøbler. </a:t>
            </a:r>
          </a:p>
          <a:p>
            <a:endParaRPr lang="ne-NP"/>
          </a:p>
          <a:p>
            <a:r>
              <a:rPr lang="ne-NP" b="1"/>
              <a:t>Varige, klimavennlige møbler</a:t>
            </a:r>
          </a:p>
          <a:p>
            <a:r>
              <a:rPr lang="ne-NP"/>
              <a:t>Når vi kjøper nye møbler skal de vare lenge og ha et klimavennlig fotavtrykk – med mulighet for dokumentasjon, reparasjon og vedlikehold. </a:t>
            </a:r>
            <a:endParaRPr lang="ne-NP" dirty="0"/>
          </a:p>
        </p:txBody>
      </p:sp>
      <p:sp>
        <p:nvSpPr>
          <p:cNvPr id="5" name="Plassholder for tekst 4">
            <a:extLst>
              <a:ext uri="{FF2B5EF4-FFF2-40B4-BE49-F238E27FC236}">
                <a16:creationId xmlns:a16="http://schemas.microsoft.com/office/drawing/2014/main" id="{D953F92C-CFCA-1D8C-CCFD-F049441BD263}"/>
              </a:ext>
            </a:extLst>
          </p:cNvPr>
          <p:cNvSpPr>
            <a:spLocks noGrp="1"/>
          </p:cNvSpPr>
          <p:nvPr>
            <p:ph type="body" sz="quarter" idx="60"/>
          </p:nvPr>
        </p:nvSpPr>
        <p:spPr/>
        <p:txBody>
          <a:bodyPr/>
          <a:lstStyle/>
          <a:p>
            <a:r>
              <a:rPr lang="ne-NP"/>
              <a:t>Bærekraftig</a:t>
            </a:r>
            <a:endParaRPr lang="ne-NP" dirty="0"/>
          </a:p>
        </p:txBody>
      </p:sp>
      <p:sp>
        <p:nvSpPr>
          <p:cNvPr id="6" name="Plassholder for tekst 5">
            <a:extLst>
              <a:ext uri="{FF2B5EF4-FFF2-40B4-BE49-F238E27FC236}">
                <a16:creationId xmlns:a16="http://schemas.microsoft.com/office/drawing/2014/main" id="{C6DE900F-6A60-3782-8304-1E65D7E77F6A}"/>
              </a:ext>
            </a:extLst>
          </p:cNvPr>
          <p:cNvSpPr>
            <a:spLocks noGrp="1"/>
          </p:cNvSpPr>
          <p:nvPr>
            <p:ph type="body" sz="quarter" idx="80"/>
          </p:nvPr>
        </p:nvSpPr>
        <p:spPr/>
        <p:txBody>
          <a:bodyPr/>
          <a:lstStyle/>
          <a:p>
            <a:r>
              <a:rPr lang="ne-NP"/>
              <a:t>Holistisk</a:t>
            </a:r>
            <a:endParaRPr lang="ne-NP" dirty="0"/>
          </a:p>
        </p:txBody>
      </p:sp>
      <p:sp>
        <p:nvSpPr>
          <p:cNvPr id="7" name="Plassholder for tekst 6">
            <a:extLst>
              <a:ext uri="{FF2B5EF4-FFF2-40B4-BE49-F238E27FC236}">
                <a16:creationId xmlns:a16="http://schemas.microsoft.com/office/drawing/2014/main" id="{E9AAC1F1-1C30-A286-6061-DEADABE2C953}"/>
              </a:ext>
            </a:extLst>
          </p:cNvPr>
          <p:cNvSpPr>
            <a:spLocks noGrp="1"/>
          </p:cNvSpPr>
          <p:nvPr>
            <p:ph type="body" sz="quarter" idx="81"/>
          </p:nvPr>
        </p:nvSpPr>
        <p:spPr/>
        <p:txBody>
          <a:bodyPr/>
          <a:lstStyle/>
          <a:p>
            <a:r>
              <a:rPr lang="ne-NP"/>
              <a:t>Smart og digitalt</a:t>
            </a:r>
            <a:endParaRPr lang="ne-NP" dirty="0"/>
          </a:p>
        </p:txBody>
      </p:sp>
      <p:sp>
        <p:nvSpPr>
          <p:cNvPr id="8" name="Plassholder for tekst 7">
            <a:extLst>
              <a:ext uri="{FF2B5EF4-FFF2-40B4-BE49-F238E27FC236}">
                <a16:creationId xmlns:a16="http://schemas.microsoft.com/office/drawing/2014/main" id="{1B0AB942-0934-0536-07AB-E87433A8FDC0}"/>
              </a:ext>
            </a:extLst>
          </p:cNvPr>
          <p:cNvSpPr>
            <a:spLocks noGrp="1"/>
          </p:cNvSpPr>
          <p:nvPr>
            <p:ph type="body" sz="quarter" idx="82"/>
          </p:nvPr>
        </p:nvSpPr>
        <p:spPr/>
        <p:txBody>
          <a:bodyPr/>
          <a:lstStyle/>
          <a:p>
            <a:r>
              <a:rPr lang="ne-NP"/>
              <a:t>Opplevelse og kulturbygging</a:t>
            </a:r>
            <a:endParaRPr lang="ne-NP" dirty="0"/>
          </a:p>
        </p:txBody>
      </p:sp>
      <p:sp>
        <p:nvSpPr>
          <p:cNvPr id="10" name="Plassholder for tekst 9">
            <a:extLst>
              <a:ext uri="{FF2B5EF4-FFF2-40B4-BE49-F238E27FC236}">
                <a16:creationId xmlns:a16="http://schemas.microsoft.com/office/drawing/2014/main" id="{22E8092E-2503-3236-3FA1-51E10B179C0E}"/>
              </a:ext>
            </a:extLst>
          </p:cNvPr>
          <p:cNvSpPr>
            <a:spLocks noGrp="1"/>
          </p:cNvSpPr>
          <p:nvPr>
            <p:ph type="body" sz="quarter" idx="11"/>
          </p:nvPr>
        </p:nvSpPr>
        <p:spPr/>
        <p:txBody>
          <a:bodyPr/>
          <a:lstStyle/>
          <a:p>
            <a:r>
              <a:rPr lang="ne-NP" dirty="0"/>
              <a:t>Kontorutvikling er </a:t>
            </a:r>
            <a:r>
              <a:rPr lang="ne-NP"/>
              <a:t>i endring  - </a:t>
            </a:r>
            <a:r>
              <a:rPr lang="ne-NP" dirty="0"/>
              <a:t>hva er driverne? </a:t>
            </a:r>
            <a:br>
              <a:rPr lang="ne-NP" dirty="0"/>
            </a:br>
            <a:endParaRPr lang="ne-NP" dirty="0"/>
          </a:p>
        </p:txBody>
      </p:sp>
      <p:pic>
        <p:nvPicPr>
          <p:cNvPr id="32" name="Plassholder for bilde 31" descr="Største bilde av en presentasjon av nettverk med klistre lapper.">
            <a:extLst>
              <a:ext uri="{FF2B5EF4-FFF2-40B4-BE49-F238E27FC236}">
                <a16:creationId xmlns:a16="http://schemas.microsoft.com/office/drawing/2014/main" id="{FA32FDCE-34DA-5410-5C7B-9D1DEE0CD6F0}"/>
              </a:ext>
            </a:extLst>
          </p:cNvPr>
          <p:cNvPicPr>
            <a:picLocks noGrp="1" noChangeAspect="1"/>
          </p:cNvPicPr>
          <p:nvPr>
            <p:ph type="pic" sz="quarter" idx="83"/>
          </p:nvPr>
        </p:nvPicPr>
        <p:blipFill>
          <a:blip r:embed="rId3" cstate="print">
            <a:extLst>
              <a:ext uri="{28A0092B-C50C-407E-A947-70E740481C1C}">
                <a14:useLocalDpi xmlns:a14="http://schemas.microsoft.com/office/drawing/2010/main" val="0"/>
              </a:ext>
            </a:extLst>
          </a:blip>
          <a:srcRect t="1930" b="1930"/>
          <a:stretch>
            <a:fillRect/>
          </a:stretch>
        </p:blipFill>
        <p:spPr/>
      </p:pic>
      <p:pic>
        <p:nvPicPr>
          <p:cNvPr id="34" name="Plassholder for bilde 33" descr="Menneskeøye sett gjennom gjennomsiktig digitalt diagram">
            <a:extLst>
              <a:ext uri="{FF2B5EF4-FFF2-40B4-BE49-F238E27FC236}">
                <a16:creationId xmlns:a16="http://schemas.microsoft.com/office/drawing/2014/main" id="{009A2F92-3854-1AF9-C598-C8E871DEAAC7}"/>
              </a:ext>
            </a:extLst>
          </p:cNvPr>
          <p:cNvPicPr>
            <a:picLocks noGrp="1" noChangeAspect="1"/>
          </p:cNvPicPr>
          <p:nvPr>
            <p:ph type="pic" sz="quarter" idx="84"/>
          </p:nvPr>
        </p:nvPicPr>
        <p:blipFill>
          <a:blip r:embed="rId4" cstate="print">
            <a:extLst>
              <a:ext uri="{28A0092B-C50C-407E-A947-70E740481C1C}">
                <a14:useLocalDpi xmlns:a14="http://schemas.microsoft.com/office/drawing/2010/main" val="0"/>
              </a:ext>
            </a:extLst>
          </a:blip>
          <a:srcRect l="5341" r="5341"/>
          <a:stretch>
            <a:fillRect/>
          </a:stretch>
        </p:blipFill>
        <p:spPr/>
      </p:pic>
      <p:pic>
        <p:nvPicPr>
          <p:cNvPr id="41" name="Plassholder for bilde 40">
            <a:extLst>
              <a:ext uri="{FF2B5EF4-FFF2-40B4-BE49-F238E27FC236}">
                <a16:creationId xmlns:a16="http://schemas.microsoft.com/office/drawing/2014/main" id="{EAE3EA6A-D897-481B-6641-BE2B5FDFF6ED}"/>
              </a:ext>
            </a:extLst>
          </p:cNvPr>
          <p:cNvPicPr>
            <a:picLocks noGrp="1" noChangeAspect="1"/>
          </p:cNvPicPr>
          <p:nvPr>
            <p:ph type="pic" sz="quarter" idx="85"/>
          </p:nvPr>
        </p:nvPicPr>
        <p:blipFill>
          <a:blip r:embed="rId5"/>
          <a:srcRect l="10634" r="10634"/>
          <a:stretch>
            <a:fillRect/>
          </a:stretch>
        </p:blipFill>
        <p:spPr>
          <a:prstGeom prst="rect">
            <a:avLst/>
          </a:prstGeom>
        </p:spPr>
      </p:pic>
      <p:sp>
        <p:nvSpPr>
          <p:cNvPr id="46" name="TekstSylinder 45">
            <a:extLst>
              <a:ext uri="{FF2B5EF4-FFF2-40B4-BE49-F238E27FC236}">
                <a16:creationId xmlns:a16="http://schemas.microsoft.com/office/drawing/2014/main" id="{BC2E4FDD-7FB6-3AB3-9515-DC14937B2ED8}"/>
              </a:ext>
            </a:extLst>
          </p:cNvPr>
          <p:cNvSpPr txBox="1"/>
          <p:nvPr/>
        </p:nvSpPr>
        <p:spPr>
          <a:xfrm>
            <a:off x="406857" y="4002078"/>
            <a:ext cx="2124689" cy="2085379"/>
          </a:xfrm>
          <a:prstGeom prst="rect">
            <a:avLst/>
          </a:prstGeom>
          <a:noFill/>
        </p:spPr>
        <p:txBody>
          <a:bodyPr wrap="square" lIns="0" tIns="0" rIns="0" bIns="0" rtlCol="0">
            <a:spAutoFit/>
          </a:bodyPr>
          <a:lstStyle/>
          <a:p>
            <a:pPr marL="250631" indent="-250631" algn="l" defTabSz="802020" rtl="0">
              <a:spcAft>
                <a:spcPts val="526"/>
              </a:spcAft>
              <a:buFont typeface="Arial" panose="020B0604020202020204" pitchFamily="34" charset="0"/>
              <a:buChar char="•"/>
              <a:defRPr/>
            </a:pPr>
            <a:r>
              <a:rPr lang="ne-NP" sz="1228" kern="1200">
                <a:solidFill>
                  <a:srgbClr val="3C0025"/>
                </a:solidFill>
                <a:latin typeface="Fold Grotesque Pro Light"/>
                <a:ea typeface="+mn-ea"/>
                <a:cs typeface="+mn-cs"/>
              </a:rPr>
              <a:t>Sirkulært tankesett</a:t>
            </a:r>
          </a:p>
          <a:p>
            <a:pPr marL="250631" indent="-250631" algn="l" defTabSz="802020" rtl="0">
              <a:spcAft>
                <a:spcPts val="526"/>
              </a:spcAft>
              <a:buFont typeface="Arial" panose="020B0604020202020204" pitchFamily="34" charset="0"/>
              <a:buChar char="•"/>
              <a:defRPr/>
            </a:pPr>
            <a:r>
              <a:rPr lang="ne-NP" sz="1228" kern="1200">
                <a:solidFill>
                  <a:srgbClr val="3C0025"/>
                </a:solidFill>
                <a:latin typeface="Fold Grotesque Pro Light"/>
                <a:ea typeface="+mn-ea"/>
                <a:cs typeface="+mn-cs"/>
              </a:rPr>
              <a:t>Flere vil være </a:t>
            </a:r>
            <a:br>
              <a:rPr lang="ne-NP" sz="1228" kern="1200">
                <a:solidFill>
                  <a:srgbClr val="3C0025"/>
                </a:solidFill>
                <a:latin typeface="Fold Grotesque Pro Light"/>
                <a:ea typeface="+mn-ea"/>
                <a:cs typeface="+mn-cs"/>
              </a:rPr>
            </a:br>
            <a:r>
              <a:rPr lang="ne-NP" sz="1228" kern="1200">
                <a:solidFill>
                  <a:srgbClr val="3C0025"/>
                </a:solidFill>
                <a:latin typeface="Fold Grotesque Pro Light"/>
                <a:ea typeface="+mn-ea"/>
                <a:cs typeface="+mn-cs"/>
              </a:rPr>
              <a:t>«front runner»</a:t>
            </a:r>
          </a:p>
          <a:p>
            <a:pPr marL="250631" indent="-250631" algn="l" defTabSz="802020" rtl="0">
              <a:spcAft>
                <a:spcPts val="526"/>
              </a:spcAft>
              <a:buFont typeface="Arial" panose="020B0604020202020204" pitchFamily="34" charset="0"/>
              <a:buChar char="•"/>
              <a:defRPr/>
            </a:pPr>
            <a:r>
              <a:rPr lang="ne-NP" sz="1228" kern="1200">
                <a:solidFill>
                  <a:srgbClr val="3C0025"/>
                </a:solidFill>
                <a:latin typeface="Fold Grotesque Pro Light"/>
                <a:ea typeface="+mn-ea"/>
                <a:cs typeface="+mn-cs"/>
              </a:rPr>
              <a:t>Langsiktig og varig</a:t>
            </a:r>
          </a:p>
          <a:p>
            <a:pPr marL="250631" indent="-250631" algn="l" defTabSz="802020" rtl="0">
              <a:spcAft>
                <a:spcPts val="526"/>
              </a:spcAft>
              <a:buFont typeface="Arial" panose="020B0604020202020204" pitchFamily="34" charset="0"/>
              <a:buChar char="•"/>
              <a:defRPr/>
            </a:pPr>
            <a:r>
              <a:rPr lang="ne-NP" sz="1228" kern="1200">
                <a:solidFill>
                  <a:srgbClr val="3C0025"/>
                </a:solidFill>
                <a:latin typeface="Fold Grotesque Pro Light"/>
                <a:ea typeface="+mn-ea"/>
                <a:cs typeface="+mn-cs"/>
              </a:rPr>
              <a:t>Dokumentasjon og rapportering</a:t>
            </a:r>
          </a:p>
          <a:p>
            <a:pPr marL="250631" indent="-250631" algn="l" defTabSz="802020" rtl="0">
              <a:spcAft>
                <a:spcPts val="526"/>
              </a:spcAft>
              <a:buFont typeface="Arial" panose="020B0604020202020204" pitchFamily="34" charset="0"/>
              <a:buChar char="•"/>
              <a:defRPr/>
            </a:pPr>
            <a:r>
              <a:rPr lang="ne-NP" sz="1228" kern="1200">
                <a:solidFill>
                  <a:srgbClr val="3C0025"/>
                </a:solidFill>
                <a:latin typeface="Fold Grotesque Pro Light"/>
                <a:ea typeface="+mn-ea"/>
                <a:cs typeface="+mn-cs"/>
              </a:rPr>
              <a:t>Sosial bærekraft</a:t>
            </a:r>
          </a:p>
          <a:p>
            <a:pPr algn="l" defTabSz="802020" rtl="0">
              <a:spcAft>
                <a:spcPts val="526"/>
              </a:spcAft>
              <a:defRPr/>
            </a:pPr>
            <a:endParaRPr lang="ne-NP" sz="1228" kern="1200">
              <a:solidFill>
                <a:srgbClr val="3C0025"/>
              </a:solidFill>
              <a:latin typeface="Fold Grotesque Pro Light"/>
              <a:ea typeface="+mn-ea"/>
              <a:cs typeface="+mn-cs"/>
            </a:endParaRPr>
          </a:p>
          <a:p>
            <a:pPr algn="l" defTabSz="802020" rtl="0">
              <a:spcAft>
                <a:spcPts val="526"/>
              </a:spcAft>
              <a:defRPr/>
            </a:pPr>
            <a:endParaRPr lang="ne-NP" sz="1228" kern="1200" dirty="0">
              <a:solidFill>
                <a:srgbClr val="3C0025"/>
              </a:solidFill>
              <a:latin typeface="Fold Grotesque Pro Light" panose="020B0303030201040103" pitchFamily="34" charset="0"/>
              <a:ea typeface="+mn-ea"/>
              <a:cs typeface="+mn-cs"/>
            </a:endParaRPr>
          </a:p>
        </p:txBody>
      </p:sp>
      <p:sp>
        <p:nvSpPr>
          <p:cNvPr id="47" name="Plassholder for innhold 1">
            <a:extLst>
              <a:ext uri="{FF2B5EF4-FFF2-40B4-BE49-F238E27FC236}">
                <a16:creationId xmlns:a16="http://schemas.microsoft.com/office/drawing/2014/main" id="{AC238C8E-BFF6-0952-CA86-109A10D760E3}"/>
              </a:ext>
            </a:extLst>
          </p:cNvPr>
          <p:cNvSpPr txBox="1">
            <a:spLocks/>
          </p:cNvSpPr>
          <p:nvPr/>
        </p:nvSpPr>
        <p:spPr>
          <a:xfrm>
            <a:off x="2828170" y="3883387"/>
            <a:ext cx="2415488" cy="2518422"/>
          </a:xfrm>
          <a:prstGeom prst="roundRect">
            <a:avLst>
              <a:gd name="adj" fmla="val 2084"/>
            </a:avLst>
          </a:prstGeom>
          <a:solidFill>
            <a:srgbClr val="EFE6FF"/>
          </a:solidFill>
          <a:effectLst>
            <a:outerShdw blurRad="50800" dist="38100" dir="2700000" algn="tl" rotWithShape="0">
              <a:prstClr val="black">
                <a:alpha val="40000"/>
              </a:prstClr>
            </a:outerShdw>
          </a:effectLst>
        </p:spPr>
        <p:txBody>
          <a:bodyPr lIns="157875" tIns="157875" rIns="157875" bIns="157875"/>
          <a:lstStyle>
            <a:lvl1pPr marL="0" indent="0" algn="l" defTabSz="914400" rtl="0" eaLnBrk="1" latinLnBrk="0" hangingPunct="1">
              <a:lnSpc>
                <a:spcPct val="90000"/>
              </a:lnSpc>
              <a:spcBef>
                <a:spcPts val="1000"/>
              </a:spcBef>
              <a:buFont typeface="Arial" panose="020B0604020202020204" pitchFamily="34" charset="0"/>
              <a:buNone/>
              <a:defRPr sz="1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02020">
              <a:spcBef>
                <a:spcPts val="877"/>
              </a:spcBef>
              <a:defRPr/>
            </a:pPr>
            <a:r>
              <a:rPr lang="ne-NP" b="1">
                <a:solidFill>
                  <a:srgbClr val="EFE6FF"/>
                </a:solidFill>
                <a:latin typeface="Fold Grotesque Pro Light"/>
              </a:rPr>
              <a:t>Sirkulært tankesett</a:t>
            </a:r>
          </a:p>
          <a:p>
            <a:pPr defTabSz="802020">
              <a:spcBef>
                <a:spcPts val="877"/>
              </a:spcBef>
              <a:defRPr/>
            </a:pPr>
            <a:r>
              <a:rPr lang="ne-NP">
                <a:solidFill>
                  <a:srgbClr val="EFE6FF"/>
                </a:solidFill>
                <a:latin typeface="Fold Grotesque Pro Light"/>
              </a:rPr>
              <a:t>Vi kjøper færre møbler, og har et større fokus på sirkulære løsninger som gjenbruk, oppussing, og kjøp/salg av bruktmøbler. </a:t>
            </a:r>
          </a:p>
          <a:p>
            <a:pPr defTabSz="802020">
              <a:spcBef>
                <a:spcPts val="877"/>
              </a:spcBef>
              <a:defRPr/>
            </a:pPr>
            <a:endParaRPr lang="ne-NP">
              <a:solidFill>
                <a:srgbClr val="EFE6FF"/>
              </a:solidFill>
              <a:latin typeface="Fold Grotesque Pro Light"/>
            </a:endParaRPr>
          </a:p>
          <a:p>
            <a:pPr defTabSz="802020">
              <a:spcBef>
                <a:spcPts val="877"/>
              </a:spcBef>
              <a:defRPr/>
            </a:pPr>
            <a:r>
              <a:rPr lang="ne-NP" b="1">
                <a:solidFill>
                  <a:srgbClr val="EFE6FF"/>
                </a:solidFill>
                <a:latin typeface="Fold Grotesque Pro Light"/>
              </a:rPr>
              <a:t>Varige, klimavennlige møbler</a:t>
            </a:r>
          </a:p>
          <a:p>
            <a:pPr defTabSz="802020">
              <a:spcBef>
                <a:spcPts val="877"/>
              </a:spcBef>
              <a:defRPr/>
            </a:pPr>
            <a:r>
              <a:rPr lang="ne-NP">
                <a:solidFill>
                  <a:srgbClr val="EFE6FF"/>
                </a:solidFill>
                <a:latin typeface="Fold Grotesque Pro Light"/>
              </a:rPr>
              <a:t>Når vi kjøper nye møbler skal de vare lenge og ha et klimavennlig fotavtrykk – med mulighet for dokumentasjon, reparasjon og vedlikehold. </a:t>
            </a:r>
            <a:endParaRPr lang="ne-NP" dirty="0">
              <a:solidFill>
                <a:srgbClr val="EFE6FF"/>
              </a:solidFill>
              <a:latin typeface="Fold Grotesque Pro Light"/>
            </a:endParaRPr>
          </a:p>
        </p:txBody>
      </p:sp>
      <p:sp>
        <p:nvSpPr>
          <p:cNvPr id="48" name="Plassholder for innhold 1">
            <a:extLst>
              <a:ext uri="{FF2B5EF4-FFF2-40B4-BE49-F238E27FC236}">
                <a16:creationId xmlns:a16="http://schemas.microsoft.com/office/drawing/2014/main" id="{A61CCFB7-9A33-45BB-08BF-38923A407B58}"/>
              </a:ext>
            </a:extLst>
          </p:cNvPr>
          <p:cNvSpPr txBox="1">
            <a:spLocks/>
          </p:cNvSpPr>
          <p:nvPr/>
        </p:nvSpPr>
        <p:spPr>
          <a:xfrm>
            <a:off x="5441382" y="3883387"/>
            <a:ext cx="2415488" cy="2518422"/>
          </a:xfrm>
          <a:prstGeom prst="roundRect">
            <a:avLst>
              <a:gd name="adj" fmla="val 2084"/>
            </a:avLst>
          </a:prstGeom>
          <a:solidFill>
            <a:srgbClr val="EFE6FF"/>
          </a:solidFill>
          <a:effectLst>
            <a:outerShdw blurRad="50800" dist="38100" dir="2700000" algn="tl" rotWithShape="0">
              <a:prstClr val="black">
                <a:alpha val="40000"/>
              </a:prstClr>
            </a:outerShdw>
          </a:effectLst>
        </p:spPr>
        <p:txBody>
          <a:bodyPr lIns="157875" tIns="157875" rIns="157875" bIns="157875"/>
          <a:lstStyle>
            <a:lvl1pPr marL="0" indent="0" algn="l" defTabSz="914400" rtl="0" eaLnBrk="1" latinLnBrk="0" hangingPunct="1">
              <a:lnSpc>
                <a:spcPct val="90000"/>
              </a:lnSpc>
              <a:spcBef>
                <a:spcPts val="1000"/>
              </a:spcBef>
              <a:buFont typeface="Arial" panose="020B0604020202020204" pitchFamily="34" charset="0"/>
              <a:buNone/>
              <a:defRPr sz="1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02020">
              <a:spcBef>
                <a:spcPts val="877"/>
              </a:spcBef>
              <a:defRPr/>
            </a:pPr>
            <a:r>
              <a:rPr lang="ne-NP" b="1">
                <a:solidFill>
                  <a:srgbClr val="EFE6FF"/>
                </a:solidFill>
                <a:latin typeface="Fold Grotesque Pro Light"/>
              </a:rPr>
              <a:t>Sirkulært tankesett</a:t>
            </a:r>
          </a:p>
          <a:p>
            <a:pPr defTabSz="802020">
              <a:spcBef>
                <a:spcPts val="877"/>
              </a:spcBef>
              <a:defRPr/>
            </a:pPr>
            <a:r>
              <a:rPr lang="ne-NP">
                <a:solidFill>
                  <a:srgbClr val="EFE6FF"/>
                </a:solidFill>
                <a:latin typeface="Fold Grotesque Pro Light"/>
              </a:rPr>
              <a:t>Vi kjøper færre møbler, og har et større fokus på sirkulære løsninger som gjenbruk, oppussing, og kjøp/salg av bruktmøbler. </a:t>
            </a:r>
          </a:p>
          <a:p>
            <a:pPr defTabSz="802020">
              <a:spcBef>
                <a:spcPts val="877"/>
              </a:spcBef>
              <a:defRPr/>
            </a:pPr>
            <a:endParaRPr lang="ne-NP">
              <a:solidFill>
                <a:srgbClr val="EFE6FF"/>
              </a:solidFill>
              <a:latin typeface="Fold Grotesque Pro Light"/>
            </a:endParaRPr>
          </a:p>
          <a:p>
            <a:pPr defTabSz="802020">
              <a:spcBef>
                <a:spcPts val="877"/>
              </a:spcBef>
              <a:defRPr/>
            </a:pPr>
            <a:r>
              <a:rPr lang="ne-NP" b="1">
                <a:solidFill>
                  <a:srgbClr val="EFE6FF"/>
                </a:solidFill>
                <a:latin typeface="Fold Grotesque Pro Light"/>
              </a:rPr>
              <a:t>Varige, klimavennlige møbler</a:t>
            </a:r>
          </a:p>
          <a:p>
            <a:pPr defTabSz="802020">
              <a:spcBef>
                <a:spcPts val="877"/>
              </a:spcBef>
              <a:defRPr/>
            </a:pPr>
            <a:r>
              <a:rPr lang="ne-NP">
                <a:solidFill>
                  <a:srgbClr val="EFE6FF"/>
                </a:solidFill>
                <a:latin typeface="Fold Grotesque Pro Light"/>
              </a:rPr>
              <a:t>Når vi kjøper nye møbler skal de vare lenge og ha et klimavennlig fotavtrykk – med mulighet for dokumentasjon, reparasjon og vedlikehold. </a:t>
            </a:r>
            <a:endParaRPr lang="ne-NP" dirty="0">
              <a:solidFill>
                <a:srgbClr val="EFE6FF"/>
              </a:solidFill>
              <a:latin typeface="Fold Grotesque Pro Light"/>
            </a:endParaRPr>
          </a:p>
        </p:txBody>
      </p:sp>
      <p:sp>
        <p:nvSpPr>
          <p:cNvPr id="49" name="Plassholder for innhold 1">
            <a:extLst>
              <a:ext uri="{FF2B5EF4-FFF2-40B4-BE49-F238E27FC236}">
                <a16:creationId xmlns:a16="http://schemas.microsoft.com/office/drawing/2014/main" id="{CFB03AEB-DD45-2D62-6B31-F4D75AEF255E}"/>
              </a:ext>
            </a:extLst>
          </p:cNvPr>
          <p:cNvSpPr txBox="1">
            <a:spLocks/>
          </p:cNvSpPr>
          <p:nvPr/>
        </p:nvSpPr>
        <p:spPr>
          <a:xfrm>
            <a:off x="8046233" y="3876106"/>
            <a:ext cx="2415488" cy="2518422"/>
          </a:xfrm>
          <a:prstGeom prst="roundRect">
            <a:avLst>
              <a:gd name="adj" fmla="val 2084"/>
            </a:avLst>
          </a:prstGeom>
          <a:solidFill>
            <a:srgbClr val="EFE6FF"/>
          </a:solidFill>
          <a:effectLst>
            <a:outerShdw blurRad="50800" dist="38100" dir="2700000" algn="tl" rotWithShape="0">
              <a:prstClr val="black">
                <a:alpha val="40000"/>
              </a:prstClr>
            </a:outerShdw>
          </a:effectLst>
        </p:spPr>
        <p:txBody>
          <a:bodyPr lIns="157875" tIns="157875" rIns="157875" bIns="157875"/>
          <a:lstStyle>
            <a:lvl1pPr marL="0" indent="0" algn="l" defTabSz="914400" rtl="0" eaLnBrk="1" latinLnBrk="0" hangingPunct="1">
              <a:lnSpc>
                <a:spcPct val="90000"/>
              </a:lnSpc>
              <a:spcBef>
                <a:spcPts val="1000"/>
              </a:spcBef>
              <a:buFont typeface="Arial" panose="020B0604020202020204" pitchFamily="34" charset="0"/>
              <a:buNone/>
              <a:defRPr sz="1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02020">
              <a:spcBef>
                <a:spcPts val="877"/>
              </a:spcBef>
              <a:defRPr/>
            </a:pPr>
            <a:r>
              <a:rPr lang="ne-NP" b="1">
                <a:solidFill>
                  <a:srgbClr val="EFE6FF"/>
                </a:solidFill>
                <a:latin typeface="Fold Grotesque Pro Light"/>
              </a:rPr>
              <a:t>Sirkulært tankesett</a:t>
            </a:r>
          </a:p>
          <a:p>
            <a:pPr defTabSz="802020">
              <a:spcBef>
                <a:spcPts val="877"/>
              </a:spcBef>
              <a:defRPr/>
            </a:pPr>
            <a:r>
              <a:rPr lang="ne-NP">
                <a:solidFill>
                  <a:srgbClr val="EFE6FF"/>
                </a:solidFill>
                <a:latin typeface="Fold Grotesque Pro Light"/>
              </a:rPr>
              <a:t>Vi kjøper færre møbler, og har et større fokus på sirkulære løsninger som gjenbruk, oppussing, og kjøp/salg av bruktmøbler. </a:t>
            </a:r>
          </a:p>
          <a:p>
            <a:pPr defTabSz="802020">
              <a:spcBef>
                <a:spcPts val="877"/>
              </a:spcBef>
              <a:defRPr/>
            </a:pPr>
            <a:endParaRPr lang="ne-NP">
              <a:solidFill>
                <a:srgbClr val="EFE6FF"/>
              </a:solidFill>
              <a:latin typeface="Fold Grotesque Pro Light"/>
            </a:endParaRPr>
          </a:p>
          <a:p>
            <a:pPr defTabSz="802020">
              <a:spcBef>
                <a:spcPts val="877"/>
              </a:spcBef>
              <a:defRPr/>
            </a:pPr>
            <a:r>
              <a:rPr lang="ne-NP" b="1">
                <a:solidFill>
                  <a:srgbClr val="EFE6FF"/>
                </a:solidFill>
                <a:latin typeface="Fold Grotesque Pro Light"/>
              </a:rPr>
              <a:t>Varige, klimavennlige møbler</a:t>
            </a:r>
          </a:p>
          <a:p>
            <a:pPr defTabSz="802020">
              <a:spcBef>
                <a:spcPts val="877"/>
              </a:spcBef>
              <a:defRPr/>
            </a:pPr>
            <a:r>
              <a:rPr lang="ne-NP">
                <a:solidFill>
                  <a:srgbClr val="EFE6FF"/>
                </a:solidFill>
                <a:latin typeface="Fold Grotesque Pro Light"/>
              </a:rPr>
              <a:t>Når vi kjøper nye møbler skal de vare lenge og ha et klimavennlig fotavtrykk – med mulighet for dokumentasjon, reparasjon og vedlikehold. </a:t>
            </a:r>
            <a:endParaRPr lang="ne-NP" dirty="0">
              <a:solidFill>
                <a:srgbClr val="EFE6FF"/>
              </a:solidFill>
              <a:latin typeface="Fold Grotesque Pro Light"/>
            </a:endParaRPr>
          </a:p>
        </p:txBody>
      </p:sp>
      <p:sp>
        <p:nvSpPr>
          <p:cNvPr id="52" name="TekstSylinder 51">
            <a:extLst>
              <a:ext uri="{FF2B5EF4-FFF2-40B4-BE49-F238E27FC236}">
                <a16:creationId xmlns:a16="http://schemas.microsoft.com/office/drawing/2014/main" id="{6103AFD9-CC96-865D-085C-CCA953C9B260}"/>
              </a:ext>
            </a:extLst>
          </p:cNvPr>
          <p:cNvSpPr txBox="1"/>
          <p:nvPr/>
        </p:nvSpPr>
        <p:spPr>
          <a:xfrm>
            <a:off x="5630906" y="4002077"/>
            <a:ext cx="2066008" cy="1889620"/>
          </a:xfrm>
          <a:prstGeom prst="rect">
            <a:avLst/>
          </a:prstGeom>
          <a:noFill/>
        </p:spPr>
        <p:txBody>
          <a:bodyPr wrap="square" lIns="0" tIns="0" rIns="0" bIns="0" rtlCol="0">
            <a:spAutoFit/>
          </a:bodyPr>
          <a:lstStyle/>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Sømløs digital og fysisk samhandling</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Den digitale brukerreisen</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Datadreven innsikt </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Data til smart FM og effektiv drift</a:t>
            </a:r>
          </a:p>
          <a:p>
            <a:pPr algn="l" defTabSz="802020" rtl="0">
              <a:defRPr/>
            </a:pPr>
            <a:endParaRPr lang="ne-NP" sz="1228" kern="1200" dirty="0">
              <a:solidFill>
                <a:srgbClr val="3C0025"/>
              </a:solidFill>
              <a:latin typeface="Fold Grotesque Pro Light" panose="020B0303030201040103" pitchFamily="34" charset="0"/>
              <a:ea typeface="+mn-ea"/>
              <a:cs typeface="+mn-cs"/>
            </a:endParaRPr>
          </a:p>
        </p:txBody>
      </p:sp>
      <p:sp>
        <p:nvSpPr>
          <p:cNvPr id="53" name="TekstSylinder 52">
            <a:extLst>
              <a:ext uri="{FF2B5EF4-FFF2-40B4-BE49-F238E27FC236}">
                <a16:creationId xmlns:a16="http://schemas.microsoft.com/office/drawing/2014/main" id="{ED56665A-14DD-B4DF-28CE-A03ABB621CDE}"/>
              </a:ext>
            </a:extLst>
          </p:cNvPr>
          <p:cNvSpPr txBox="1"/>
          <p:nvPr/>
        </p:nvSpPr>
        <p:spPr>
          <a:xfrm>
            <a:off x="8240573" y="4002077"/>
            <a:ext cx="2045971" cy="2078582"/>
          </a:xfrm>
          <a:prstGeom prst="rect">
            <a:avLst/>
          </a:prstGeom>
          <a:noFill/>
        </p:spPr>
        <p:txBody>
          <a:bodyPr wrap="square" lIns="0" tIns="0" rIns="0" bIns="0" rtlCol="0">
            <a:spAutoFit/>
          </a:bodyPr>
          <a:lstStyle/>
          <a:p>
            <a:pPr marL="150379" indent="-150379" algn="l" defTabSz="802020" rtl="0">
              <a:buFont typeface="Arial" panose="020B0604020202020204" pitchFamily="34" charset="0"/>
              <a:buChar char="•"/>
              <a:defRPr/>
            </a:pPr>
            <a:r>
              <a:rPr lang="ne-NP" sz="1228" b="1" kern="1200">
                <a:solidFill>
                  <a:srgbClr val="3C0025"/>
                </a:solidFill>
                <a:latin typeface="Fold Grotesque Pro Light" panose="020B0303030201040103" pitchFamily="34" charset="0"/>
                <a:ea typeface="+mn-ea"/>
                <a:cs typeface="+mn-cs"/>
              </a:rPr>
              <a:t>Kontoret som destinasjon</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Mer fokus på arealer for samhandling og teamarbeid</a:t>
            </a:r>
          </a:p>
          <a:p>
            <a:pPr algn="l" defTabSz="802020" rtl="0">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I tillegg legge til rette for konsentrasjon</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marL="150379" indent="-150379" algn="l" defTabSz="802020" rtl="0">
              <a:buFont typeface="Arial" panose="020B0604020202020204" pitchFamily="34" charset="0"/>
              <a:buChar char="•"/>
              <a:defRPr/>
            </a:pPr>
            <a:r>
              <a:rPr lang="ne-NP" sz="1228" kern="1200">
                <a:solidFill>
                  <a:srgbClr val="3C0025"/>
                </a:solidFill>
                <a:latin typeface="Fold Grotesque Pro Light" panose="020B0303030201040103" pitchFamily="34" charset="0"/>
                <a:ea typeface="+mn-ea"/>
                <a:cs typeface="+mn-cs"/>
              </a:rPr>
              <a:t>Innovasjon</a:t>
            </a:r>
          </a:p>
          <a:p>
            <a:pPr marL="150379" indent="-150379" algn="l" defTabSz="802020" rtl="0">
              <a:buFont typeface="Arial" panose="020B0604020202020204" pitchFamily="34" charset="0"/>
              <a:buChar char="•"/>
              <a:defRPr/>
            </a:pPr>
            <a:endParaRPr lang="ne-NP" sz="1228" kern="1200">
              <a:solidFill>
                <a:srgbClr val="3C0025"/>
              </a:solidFill>
              <a:latin typeface="Fold Grotesque Pro Light" panose="020B0303030201040103" pitchFamily="34" charset="0"/>
              <a:ea typeface="+mn-ea"/>
              <a:cs typeface="+mn-cs"/>
            </a:endParaRPr>
          </a:p>
          <a:p>
            <a:pPr algn="l" defTabSz="802020" rtl="0">
              <a:defRPr/>
            </a:pPr>
            <a:endParaRPr lang="ne-NP" sz="1228" kern="1200" dirty="0">
              <a:solidFill>
                <a:srgbClr val="3C0025"/>
              </a:solidFill>
              <a:latin typeface="Fold Grotesque Pro Light" panose="020B0303030201040103" pitchFamily="34" charset="0"/>
              <a:ea typeface="+mn-ea"/>
              <a:cs typeface="+mn-cs"/>
            </a:endParaRPr>
          </a:p>
        </p:txBody>
      </p:sp>
      <p:pic>
        <p:nvPicPr>
          <p:cNvPr id="73" name="Plassholder for bilde 72" descr="Veier som går gjennom skogen">
            <a:extLst>
              <a:ext uri="{FF2B5EF4-FFF2-40B4-BE49-F238E27FC236}">
                <a16:creationId xmlns:a16="http://schemas.microsoft.com/office/drawing/2014/main" id="{8210212A-1917-FDDE-BF51-88A074469D87}"/>
              </a:ext>
            </a:extLst>
          </p:cNvPr>
          <p:cNvPicPr>
            <a:picLocks noGrp="1" noChangeAspect="1"/>
          </p:cNvPicPr>
          <p:nvPr>
            <p:ph type="pic" sz="quarter" idx="59"/>
          </p:nvPr>
        </p:nvPicPr>
        <p:blipFill>
          <a:blip r:embed="rId6" cstate="print">
            <a:extLst>
              <a:ext uri="{28A0092B-C50C-407E-A947-70E740481C1C}">
                <a14:useLocalDpi xmlns:a14="http://schemas.microsoft.com/office/drawing/2010/main" val="0"/>
              </a:ext>
            </a:extLst>
          </a:blip>
          <a:srcRect t="10014" b="10014"/>
          <a:stretch>
            <a:fillRect/>
          </a:stretch>
        </p:blipFill>
        <p:spPr/>
      </p:pic>
      <p:sp>
        <p:nvSpPr>
          <p:cNvPr id="3" name="TekstSylinder 2">
            <a:extLst>
              <a:ext uri="{FF2B5EF4-FFF2-40B4-BE49-F238E27FC236}">
                <a16:creationId xmlns:a16="http://schemas.microsoft.com/office/drawing/2014/main" id="{A12CEC41-07A1-9FA8-F749-A1EFE080EF7D}"/>
              </a:ext>
            </a:extLst>
          </p:cNvPr>
          <p:cNvSpPr txBox="1"/>
          <p:nvPr/>
        </p:nvSpPr>
        <p:spPr>
          <a:xfrm>
            <a:off x="3024249" y="3978009"/>
            <a:ext cx="2040051" cy="1802416"/>
          </a:xfrm>
          <a:prstGeom prst="rect">
            <a:avLst/>
          </a:prstGeom>
          <a:noFill/>
        </p:spPr>
        <p:txBody>
          <a:bodyPr wrap="square" lIns="0" tIns="0" rIns="0" bIns="0" rtlCol="0">
            <a:spAutoFit/>
          </a:bodyPr>
          <a:lstStyle/>
          <a:p>
            <a:pPr marL="250631" indent="-250631" algn="l" defTabSz="802020" rtl="0">
              <a:lnSpc>
                <a:spcPct val="150000"/>
              </a:lnSpc>
              <a:buFont typeface="Arial" panose="020B0604020202020204" pitchFamily="34" charset="0"/>
              <a:buChar char="•"/>
              <a:defRPr/>
            </a:pPr>
            <a:r>
              <a:rPr lang="ne-NP" sz="1228" kern="1200">
                <a:solidFill>
                  <a:srgbClr val="3C0025"/>
                </a:solidFill>
                <a:latin typeface="Fold Grotesque Pro Light"/>
                <a:ea typeface="+mn-ea"/>
                <a:cs typeface="+mn-cs"/>
              </a:rPr>
              <a:t>Fokus på </a:t>
            </a:r>
            <a:r>
              <a:rPr lang="ne-NP" sz="1228" b="1" i="1" kern="1200">
                <a:solidFill>
                  <a:srgbClr val="3C0025"/>
                </a:solidFill>
                <a:latin typeface="Fold Grotesque Pro Light"/>
                <a:ea typeface="+mn-ea"/>
                <a:cs typeface="+mn-cs"/>
              </a:rPr>
              <a:t>mennesker</a:t>
            </a:r>
          </a:p>
          <a:p>
            <a:pPr marL="250631" indent="-250631" algn="l" defTabSz="802020" rtl="0">
              <a:lnSpc>
                <a:spcPct val="150000"/>
              </a:lnSpc>
              <a:buFont typeface="Arial" panose="020B0604020202020204" pitchFamily="34" charset="0"/>
              <a:buChar char="•"/>
              <a:defRPr/>
            </a:pPr>
            <a:r>
              <a:rPr lang="ne-NP" sz="1228" kern="1200">
                <a:solidFill>
                  <a:srgbClr val="3C0025"/>
                </a:solidFill>
                <a:latin typeface="Fold Grotesque Pro Light"/>
                <a:ea typeface="+mn-ea"/>
                <a:cs typeface="+mn-cs"/>
              </a:rPr>
              <a:t>Inkludering og mangfold</a:t>
            </a:r>
          </a:p>
          <a:p>
            <a:pPr marL="250631" indent="-250631" algn="l" defTabSz="802020" rtl="0">
              <a:lnSpc>
                <a:spcPct val="150000"/>
              </a:lnSpc>
              <a:buFont typeface="Arial" panose="020B0604020202020204" pitchFamily="34" charset="0"/>
              <a:buChar char="•"/>
              <a:defRPr/>
            </a:pPr>
            <a:r>
              <a:rPr lang="ne-NP" sz="1228" kern="1200">
                <a:solidFill>
                  <a:srgbClr val="3C0025"/>
                </a:solidFill>
                <a:latin typeface="Fold Grotesque Pro Light"/>
                <a:ea typeface="+mn-ea"/>
                <a:cs typeface="+mn-cs"/>
              </a:rPr>
              <a:t>Variasjon &amp; valgfrihet</a:t>
            </a:r>
          </a:p>
          <a:p>
            <a:pPr marL="250631" indent="-250631" algn="l" defTabSz="802020" rtl="0">
              <a:lnSpc>
                <a:spcPct val="150000"/>
              </a:lnSpc>
              <a:buFont typeface="Arial" panose="020B0604020202020204" pitchFamily="34" charset="0"/>
              <a:buChar char="•"/>
              <a:defRPr/>
            </a:pPr>
            <a:r>
              <a:rPr lang="ne-NP" sz="1228" kern="1200">
                <a:solidFill>
                  <a:srgbClr val="3C0025"/>
                </a:solidFill>
                <a:latin typeface="Fold Grotesque Pro Light"/>
                <a:ea typeface="+mn-ea"/>
                <a:cs typeface="+mn-cs"/>
              </a:rPr>
              <a:t>Attraktivt «hele døgnet»</a:t>
            </a:r>
          </a:p>
          <a:p>
            <a:pPr marL="250631" indent="-250631" algn="l" defTabSz="802020" rtl="0">
              <a:lnSpc>
                <a:spcPct val="150000"/>
              </a:lnSpc>
              <a:buFont typeface="Arial" panose="020B0604020202020204" pitchFamily="34" charset="0"/>
              <a:buChar char="•"/>
              <a:defRPr/>
            </a:pPr>
            <a:r>
              <a:rPr lang="ne-NP" sz="1228" kern="1200">
                <a:solidFill>
                  <a:srgbClr val="3C0025"/>
                </a:solidFill>
                <a:latin typeface="Fold Grotesque Pro Light"/>
                <a:ea typeface="+mn-ea"/>
                <a:cs typeface="+mn-cs"/>
              </a:rPr>
              <a:t>Helse og velvære</a:t>
            </a:r>
          </a:p>
          <a:p>
            <a:pPr algn="l" defTabSz="802020" rtl="0">
              <a:defRPr/>
            </a:pPr>
            <a:endParaRPr lang="ne-NP" sz="1228" kern="1200">
              <a:solidFill>
                <a:srgbClr val="3C0025"/>
              </a:solidFill>
              <a:latin typeface="Fold Grotesque Pro Light"/>
              <a:ea typeface="+mn-ea"/>
              <a:cs typeface="+mn-cs"/>
            </a:endParaRPr>
          </a:p>
          <a:p>
            <a:pPr algn="l" defTabSz="802020" rtl="0">
              <a:lnSpc>
                <a:spcPct val="105000"/>
              </a:lnSpc>
              <a:defRPr/>
            </a:pPr>
            <a:endParaRPr lang="ne-NP" sz="1228" kern="1200" dirty="0">
              <a:solidFill>
                <a:srgbClr val="3C0025"/>
              </a:solidFill>
              <a:latin typeface="Fold Grotesque Pro Light" panose="020B0303030201040103" pitchFamily="34" charset="0"/>
              <a:ea typeface="+mn-ea"/>
              <a:cs typeface="+mn-cs"/>
            </a:endParaRPr>
          </a:p>
        </p:txBody>
      </p:sp>
    </p:spTree>
    <p:extLst>
      <p:ext uri="{BB962C8B-B14F-4D97-AF65-F5344CB8AC3E}">
        <p14:creationId xmlns:p14="http://schemas.microsoft.com/office/powerpoint/2010/main" val="328790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C85E1-FEF3-4EE5-7BB1-449CFCCFE218}"/>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3611BBD0-265A-3BC2-5BE1-255978CCFC82}"/>
              </a:ext>
            </a:extLst>
          </p:cNvPr>
          <p:cNvGraphicFramePr>
            <a:graphicFrameLocks noChangeAspect="1"/>
          </p:cNvGraphicFramePr>
          <p:nvPr>
            <p:custDataLst>
              <p:tags r:id="rId1"/>
            </p:custDataLst>
          </p:nvPr>
        </p:nvGraphicFramePr>
        <p:xfrm>
          <a:off x="1393" y="775299"/>
          <a:ext cx="1393" cy="1393"/>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21" name="think-cell data - do not delete" hidden="1">
                        <a:extLst>
                          <a:ext uri="{FF2B5EF4-FFF2-40B4-BE49-F238E27FC236}">
                            <a16:creationId xmlns:a16="http://schemas.microsoft.com/office/drawing/2014/main" id="{3611BBD0-265A-3BC2-5BE1-255978CCFC82}"/>
                          </a:ext>
                        </a:extLst>
                      </p:cNvPr>
                      <p:cNvPicPr/>
                      <p:nvPr/>
                    </p:nvPicPr>
                    <p:blipFill>
                      <a:blip r:embed="rId5"/>
                      <a:stretch>
                        <a:fillRect/>
                      </a:stretch>
                    </p:blipFill>
                    <p:spPr>
                      <a:xfrm>
                        <a:off x="1393" y="775299"/>
                        <a:ext cx="1393" cy="1393"/>
                      </a:xfrm>
                      <a:prstGeom prst="rect">
                        <a:avLst/>
                      </a:prstGeom>
                    </p:spPr>
                  </p:pic>
                </p:oleObj>
              </mc:Fallback>
            </mc:AlternateContent>
          </a:graphicData>
        </a:graphic>
      </p:graphicFrame>
      <p:pic>
        <p:nvPicPr>
          <p:cNvPr id="11" name="Bilde 10" descr="Et bilde som inneholder klær, Dans, dansing, person&#10;&#10;Automatisk generert beskrivelse">
            <a:extLst>
              <a:ext uri="{FF2B5EF4-FFF2-40B4-BE49-F238E27FC236}">
                <a16:creationId xmlns:a16="http://schemas.microsoft.com/office/drawing/2014/main" id="{CA5CC367-CBF0-7D13-7276-23E7100CBF5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6773" t="9811" r="17216" b="53326"/>
          <a:stretch/>
        </p:blipFill>
        <p:spPr>
          <a:xfrm>
            <a:off x="4814217" y="2782738"/>
            <a:ext cx="1953617" cy="862853"/>
          </a:xfrm>
          <a:prstGeom prst="rect">
            <a:avLst/>
          </a:prstGeom>
        </p:spPr>
      </p:pic>
      <p:pic>
        <p:nvPicPr>
          <p:cNvPr id="10" name="Bilde 9" descr="Et bilde som inneholder klær, innendørs, Kontorbygning, person&#10;&#10;KI-generert innhold kan være feil.">
            <a:extLst>
              <a:ext uri="{FF2B5EF4-FFF2-40B4-BE49-F238E27FC236}">
                <a16:creationId xmlns:a16="http://schemas.microsoft.com/office/drawing/2014/main" id="{FFF87B8F-94A5-D004-DD8D-1B999D30345F}"/>
              </a:ext>
            </a:extLst>
          </p:cNvPr>
          <p:cNvPicPr>
            <a:picLocks noChangeAspect="1"/>
          </p:cNvPicPr>
          <p:nvPr/>
        </p:nvPicPr>
        <p:blipFill>
          <a:blip r:embed="rId7"/>
          <a:srcRect l="-542" r="1169"/>
          <a:stretch/>
        </p:blipFill>
        <p:spPr>
          <a:xfrm>
            <a:off x="6987035" y="2827611"/>
            <a:ext cx="3636305" cy="1811114"/>
          </a:xfrm>
          <a:prstGeom prst="roundRect">
            <a:avLst>
              <a:gd name="adj" fmla="val 3093"/>
            </a:avLst>
          </a:prstGeom>
        </p:spPr>
      </p:pic>
      <p:pic>
        <p:nvPicPr>
          <p:cNvPr id="17" name="Bilde 16" descr="Et bilde som inneholder møbler, person, innendørs, skrivepult&#10;&#10;KI-generert innhold kan være feil.">
            <a:extLst>
              <a:ext uri="{FF2B5EF4-FFF2-40B4-BE49-F238E27FC236}">
                <a16:creationId xmlns:a16="http://schemas.microsoft.com/office/drawing/2014/main" id="{CE45201A-0172-2AC0-977F-2D605EA04FC1}"/>
              </a:ext>
            </a:extLst>
          </p:cNvPr>
          <p:cNvPicPr>
            <a:picLocks noChangeAspect="1"/>
          </p:cNvPicPr>
          <p:nvPr/>
        </p:nvPicPr>
        <p:blipFill>
          <a:blip r:embed="rId8"/>
          <a:srcRect l="2722" r="12637"/>
          <a:stretch/>
        </p:blipFill>
        <p:spPr>
          <a:xfrm>
            <a:off x="5641527" y="4685228"/>
            <a:ext cx="2948548" cy="1959507"/>
          </a:xfrm>
          <a:prstGeom prst="roundRect">
            <a:avLst>
              <a:gd name="adj" fmla="val 2845"/>
            </a:avLst>
          </a:prstGeom>
        </p:spPr>
      </p:pic>
      <p:pic>
        <p:nvPicPr>
          <p:cNvPr id="13" name="Bilde 12" descr="Et bilde som inneholder tekst, person, kutting, kryssordoppgave&#10;&#10;KI-generert innhold kan være feil.">
            <a:extLst>
              <a:ext uri="{FF2B5EF4-FFF2-40B4-BE49-F238E27FC236}">
                <a16:creationId xmlns:a16="http://schemas.microsoft.com/office/drawing/2014/main" id="{F1768AA5-2D0F-2796-6FBC-A510712D7024}"/>
              </a:ext>
            </a:extLst>
          </p:cNvPr>
          <p:cNvPicPr>
            <a:picLocks noChangeAspect="1"/>
          </p:cNvPicPr>
          <p:nvPr/>
        </p:nvPicPr>
        <p:blipFill>
          <a:blip r:embed="rId9"/>
          <a:srcRect l="5392" r="5432"/>
          <a:stretch/>
        </p:blipFill>
        <p:spPr>
          <a:xfrm>
            <a:off x="4477862" y="981858"/>
            <a:ext cx="2865497" cy="1800880"/>
          </a:xfrm>
          <a:prstGeom prst="roundRect">
            <a:avLst>
              <a:gd name="adj" fmla="val 3093"/>
            </a:avLst>
          </a:prstGeom>
        </p:spPr>
      </p:pic>
      <p:pic>
        <p:nvPicPr>
          <p:cNvPr id="14" name="Bilde 13" descr="Et bilde som inneholder kunst, Grafikk, grafisk design, maling&#10;&#10;KI-generert innhold kan være feil.">
            <a:extLst>
              <a:ext uri="{FF2B5EF4-FFF2-40B4-BE49-F238E27FC236}">
                <a16:creationId xmlns:a16="http://schemas.microsoft.com/office/drawing/2014/main" id="{86D4828D-C4AE-40EF-AD4E-715F49A8051E}"/>
              </a:ext>
            </a:extLst>
          </p:cNvPr>
          <p:cNvPicPr>
            <a:picLocks noChangeAspect="1"/>
          </p:cNvPicPr>
          <p:nvPr/>
        </p:nvPicPr>
        <p:blipFill>
          <a:blip r:embed="rId10"/>
          <a:srcRect l="16782" r="17048"/>
          <a:stretch/>
        </p:blipFill>
        <p:spPr>
          <a:xfrm>
            <a:off x="8669330" y="4686859"/>
            <a:ext cx="1943248" cy="1957877"/>
          </a:xfrm>
          <a:prstGeom prst="roundRect">
            <a:avLst>
              <a:gd name="adj" fmla="val 2866"/>
            </a:avLst>
          </a:prstGeom>
        </p:spPr>
      </p:pic>
      <p:pic>
        <p:nvPicPr>
          <p:cNvPr id="15" name="Picture 14">
            <a:extLst>
              <a:ext uri="{FF2B5EF4-FFF2-40B4-BE49-F238E27FC236}">
                <a16:creationId xmlns:a16="http://schemas.microsoft.com/office/drawing/2014/main" id="{DC464D15-3CAE-622D-DD04-363F22D9E0C1}"/>
              </a:ext>
            </a:extLst>
          </p:cNvPr>
          <p:cNvPicPr>
            <a:picLocks noChangeAspect="1"/>
          </p:cNvPicPr>
          <p:nvPr/>
        </p:nvPicPr>
        <p:blipFill>
          <a:blip r:embed="rId11" cstate="print">
            <a:extLst>
              <a:ext uri="{28A0092B-C50C-407E-A947-70E740481C1C}">
                <a14:useLocalDpi xmlns:a14="http://schemas.microsoft.com/office/drawing/2010/main" val="0"/>
              </a:ext>
            </a:extLst>
          </a:blip>
          <a:srcRect t="10193" b="10193"/>
          <a:stretch/>
        </p:blipFill>
        <p:spPr>
          <a:xfrm>
            <a:off x="7403583" y="971624"/>
            <a:ext cx="3219758" cy="1811114"/>
          </a:xfrm>
          <a:prstGeom prst="roundRect">
            <a:avLst>
              <a:gd name="adj" fmla="val 3075"/>
            </a:avLst>
          </a:prstGeom>
        </p:spPr>
      </p:pic>
      <p:pic>
        <p:nvPicPr>
          <p:cNvPr id="16" name="Picture 2" descr="Modern open-plan workspace at Landsec 100 Victoria Street Headquarters, designed by Modus Workspace. The space features greenery, contemporary seating, and exposed ceilings, creating a vibrant and collaborative office environment.">
            <a:extLst>
              <a:ext uri="{FF2B5EF4-FFF2-40B4-BE49-F238E27FC236}">
                <a16:creationId xmlns:a16="http://schemas.microsoft.com/office/drawing/2014/main" id="{E8D4CEB5-87C5-4AA9-8144-313EC087312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822" y="981857"/>
            <a:ext cx="4336649" cy="2630117"/>
          </a:xfrm>
          <a:prstGeom prst="roundRect">
            <a:avLst>
              <a:gd name="adj" fmla="val 2118"/>
            </a:avLst>
          </a:prstGeom>
          <a:noFill/>
          <a:extLst>
            <a:ext uri="{909E8E84-426E-40DD-AFC4-6F175D3DCCD1}">
              <a14:hiddenFill xmlns:a14="http://schemas.microsoft.com/office/drawing/2010/main">
                <a:solidFill>
                  <a:srgbClr val="FFFFFF"/>
                </a:solidFill>
              </a14:hiddenFill>
            </a:ext>
          </a:extLst>
        </p:spPr>
      </p:pic>
      <p:sp>
        <p:nvSpPr>
          <p:cNvPr id="20" name="Rectangle 21">
            <a:extLst>
              <a:ext uri="{FF2B5EF4-FFF2-40B4-BE49-F238E27FC236}">
                <a16:creationId xmlns:a16="http://schemas.microsoft.com/office/drawing/2014/main" id="{186A430A-687E-EB63-939B-523815662DED}"/>
              </a:ext>
            </a:extLst>
          </p:cNvPr>
          <p:cNvSpPr/>
          <p:nvPr/>
        </p:nvSpPr>
        <p:spPr>
          <a:xfrm>
            <a:off x="-367586" y="539988"/>
            <a:ext cx="11089800" cy="6197078"/>
          </a:xfrm>
          <a:prstGeom prst="rect">
            <a:avLst/>
          </a:prstGeom>
          <a:solidFill>
            <a:schemeClr val="bg1">
              <a:lumMod val="95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2" name="Bilde 11">
            <a:extLst>
              <a:ext uri="{FF2B5EF4-FFF2-40B4-BE49-F238E27FC236}">
                <a16:creationId xmlns:a16="http://schemas.microsoft.com/office/drawing/2014/main" id="{67E96EFB-31F7-85A1-0A3B-73A8C01F8773}"/>
              </a:ext>
            </a:extLst>
          </p:cNvPr>
          <p:cNvPicPr>
            <a:picLocks noChangeAspect="1"/>
          </p:cNvPicPr>
          <p:nvPr/>
        </p:nvPicPr>
        <p:blipFill>
          <a:blip r:embed="rId13"/>
          <a:stretch>
            <a:fillRect/>
          </a:stretch>
        </p:blipFill>
        <p:spPr>
          <a:xfrm>
            <a:off x="76769" y="825784"/>
            <a:ext cx="10535810" cy="5805293"/>
          </a:xfrm>
          <a:prstGeom prst="rect">
            <a:avLst/>
          </a:prstGeom>
        </p:spPr>
      </p:pic>
    </p:spTree>
    <p:extLst>
      <p:ext uri="{BB962C8B-B14F-4D97-AF65-F5344CB8AC3E}">
        <p14:creationId xmlns:p14="http://schemas.microsoft.com/office/powerpoint/2010/main" val="3469433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e 20" descr="Gratis arkivbilde med ansatte, antrekk, arbeidskultur Arkivbilde">
            <a:extLst>
              <a:ext uri="{FF2B5EF4-FFF2-40B4-BE49-F238E27FC236}">
                <a16:creationId xmlns:a16="http://schemas.microsoft.com/office/drawing/2014/main" id="{6C0EF561-9985-406C-5CB4-032F52D3F1E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4577" r="8874" b="31804"/>
          <a:stretch>
            <a:fillRect/>
          </a:stretch>
        </p:blipFill>
        <p:spPr bwMode="auto">
          <a:xfrm flipH="1">
            <a:off x="5208914" y="3231971"/>
            <a:ext cx="2967874" cy="1341970"/>
          </a:xfrm>
          <a:custGeom>
            <a:avLst/>
            <a:gdLst>
              <a:gd name="connsiteX0" fmla="*/ 670873 w 3383799"/>
              <a:gd name="connsiteY0" fmla="*/ 0 h 1530037"/>
              <a:gd name="connsiteX1" fmla="*/ 2552501 w 3383799"/>
              <a:gd name="connsiteY1" fmla="*/ 0 h 1530037"/>
              <a:gd name="connsiteX2" fmla="*/ 3383799 w 3383799"/>
              <a:gd name="connsiteY2" fmla="*/ 1530037 h 1530037"/>
              <a:gd name="connsiteX3" fmla="*/ 0 w 3383799"/>
              <a:gd name="connsiteY3" fmla="*/ 1530037 h 1530037"/>
              <a:gd name="connsiteX4" fmla="*/ 0 w 3383799"/>
              <a:gd name="connsiteY4" fmla="*/ 1234769 h 15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3799" h="1530037">
                <a:moveTo>
                  <a:pt x="670873" y="0"/>
                </a:moveTo>
                <a:lnTo>
                  <a:pt x="2552501" y="0"/>
                </a:lnTo>
                <a:lnTo>
                  <a:pt x="3383799" y="1530037"/>
                </a:lnTo>
                <a:lnTo>
                  <a:pt x="0" y="1530037"/>
                </a:lnTo>
                <a:lnTo>
                  <a:pt x="0" y="1234769"/>
                </a:lnTo>
                <a:close/>
              </a:path>
            </a:pathLst>
          </a:custGeom>
          <a:noFill/>
          <a:extLst>
            <a:ext uri="{909E8E84-426E-40DD-AFC4-6F175D3DCCD1}">
              <a14:hiddenFill xmlns:a14="http://schemas.microsoft.com/office/drawing/2010/main">
                <a:solidFill>
                  <a:srgbClr val="FFFFFF"/>
                </a:solidFill>
              </a14:hiddenFill>
            </a:ext>
          </a:extLst>
        </p:spPr>
      </p:pic>
      <p:pic>
        <p:nvPicPr>
          <p:cNvPr id="23" name="Bilde 22" descr="Gratis arkivbilde med # innendørs, ansiktsuttrykk, arbeide Arkivbilde">
            <a:extLst>
              <a:ext uri="{FF2B5EF4-FFF2-40B4-BE49-F238E27FC236}">
                <a16:creationId xmlns:a16="http://schemas.microsoft.com/office/drawing/2014/main" id="{F15FD22D-7F2B-74B4-FD56-78C4E877270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9543" t="2193" b="548"/>
          <a:stretch>
            <a:fillRect/>
          </a:stretch>
        </p:blipFill>
        <p:spPr bwMode="auto">
          <a:xfrm>
            <a:off x="5982745" y="1729072"/>
            <a:ext cx="1560738" cy="1436301"/>
          </a:xfrm>
          <a:custGeom>
            <a:avLst/>
            <a:gdLst>
              <a:gd name="connsiteX0" fmla="*/ 889732 w 1779464"/>
              <a:gd name="connsiteY0" fmla="*/ 0 h 1637588"/>
              <a:gd name="connsiteX1" fmla="*/ 1779464 w 1779464"/>
              <a:gd name="connsiteY1" fmla="*/ 1637588 h 1637588"/>
              <a:gd name="connsiteX2" fmla="*/ 0 w 1779464"/>
              <a:gd name="connsiteY2" fmla="*/ 1637588 h 1637588"/>
            </a:gdLst>
            <a:ahLst/>
            <a:cxnLst>
              <a:cxn ang="0">
                <a:pos x="connsiteX0" y="connsiteY0"/>
              </a:cxn>
              <a:cxn ang="0">
                <a:pos x="connsiteX1" y="connsiteY1"/>
              </a:cxn>
              <a:cxn ang="0">
                <a:pos x="connsiteX2" y="connsiteY2"/>
              </a:cxn>
            </a:cxnLst>
            <a:rect l="l" t="t" r="r" b="b"/>
            <a:pathLst>
              <a:path w="1779464" h="1637588">
                <a:moveTo>
                  <a:pt x="889732" y="0"/>
                </a:moveTo>
                <a:lnTo>
                  <a:pt x="1779464" y="1637588"/>
                </a:lnTo>
                <a:lnTo>
                  <a:pt x="0" y="1637588"/>
                </a:lnTo>
                <a:close/>
              </a:path>
            </a:pathLst>
          </a:custGeom>
          <a:noFill/>
          <a:extLst>
            <a:ext uri="{909E8E84-426E-40DD-AFC4-6F175D3DCCD1}">
              <a14:hiddenFill xmlns:a14="http://schemas.microsoft.com/office/drawing/2010/main">
                <a:solidFill>
                  <a:srgbClr val="FFFFFF"/>
                </a:solidFill>
              </a14:hiddenFill>
            </a:ext>
          </a:extLst>
        </p:spPr>
      </p:pic>
      <p:pic>
        <p:nvPicPr>
          <p:cNvPr id="24" name="Bilde 23" descr="Gratis arkivbilde med analyse, ansatte, arbeide Arkivbilde">
            <a:extLst>
              <a:ext uri="{FF2B5EF4-FFF2-40B4-BE49-F238E27FC236}">
                <a16:creationId xmlns:a16="http://schemas.microsoft.com/office/drawing/2014/main" id="{4EF04E8A-04AE-7D42-95A8-55FAD3D0CD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644" t="27249" r="3933" b="36972"/>
          <a:stretch>
            <a:fillRect/>
          </a:stretch>
        </p:blipFill>
        <p:spPr bwMode="auto">
          <a:xfrm>
            <a:off x="4558221" y="4640539"/>
            <a:ext cx="4409786" cy="1115000"/>
          </a:xfrm>
          <a:custGeom>
            <a:avLst/>
            <a:gdLst>
              <a:gd name="connsiteX0" fmla="*/ 690699 w 5027785"/>
              <a:gd name="connsiteY0" fmla="*/ 0 h 1271259"/>
              <a:gd name="connsiteX1" fmla="*/ 4337086 w 5027785"/>
              <a:gd name="connsiteY1" fmla="*/ 0 h 1271259"/>
              <a:gd name="connsiteX2" fmla="*/ 5027785 w 5027785"/>
              <a:gd name="connsiteY2" fmla="*/ 1271259 h 1271259"/>
              <a:gd name="connsiteX3" fmla="*/ 0 w 5027785"/>
              <a:gd name="connsiteY3" fmla="*/ 1271259 h 1271259"/>
            </a:gdLst>
            <a:ahLst/>
            <a:cxnLst>
              <a:cxn ang="0">
                <a:pos x="connsiteX0" y="connsiteY0"/>
              </a:cxn>
              <a:cxn ang="0">
                <a:pos x="connsiteX1" y="connsiteY1"/>
              </a:cxn>
              <a:cxn ang="0">
                <a:pos x="connsiteX2" y="connsiteY2"/>
              </a:cxn>
              <a:cxn ang="0">
                <a:pos x="connsiteX3" y="connsiteY3"/>
              </a:cxn>
            </a:cxnLst>
            <a:rect l="l" t="t" r="r" b="b"/>
            <a:pathLst>
              <a:path w="5027785" h="1271259">
                <a:moveTo>
                  <a:pt x="690699" y="0"/>
                </a:moveTo>
                <a:lnTo>
                  <a:pt x="4337086" y="0"/>
                </a:lnTo>
                <a:lnTo>
                  <a:pt x="5027785" y="1271259"/>
                </a:lnTo>
                <a:lnTo>
                  <a:pt x="0" y="1271259"/>
                </a:lnTo>
                <a:close/>
              </a:path>
            </a:pathLst>
          </a:custGeom>
          <a:noFill/>
          <a:extLst>
            <a:ext uri="{909E8E84-426E-40DD-AFC4-6F175D3DCCD1}">
              <a14:hiddenFill xmlns:a14="http://schemas.microsoft.com/office/drawing/2010/main">
                <a:solidFill>
                  <a:srgbClr val="FFFFFF"/>
                </a:solidFill>
              </a14:hiddenFill>
            </a:ext>
          </a:extLst>
        </p:spPr>
      </p:pic>
      <p:sp>
        <p:nvSpPr>
          <p:cNvPr id="3" name="Plassholder for tekst 2">
            <a:extLst>
              <a:ext uri="{FF2B5EF4-FFF2-40B4-BE49-F238E27FC236}">
                <a16:creationId xmlns:a16="http://schemas.microsoft.com/office/drawing/2014/main" id="{FFFE6EA5-6D6F-1FF3-9302-2F83FA693180}"/>
              </a:ext>
            </a:extLst>
          </p:cNvPr>
          <p:cNvSpPr>
            <a:spLocks noGrp="1"/>
          </p:cNvSpPr>
          <p:nvPr>
            <p:ph type="body" sz="quarter" idx="13"/>
          </p:nvPr>
        </p:nvSpPr>
        <p:spPr>
          <a:xfrm>
            <a:off x="10462202" y="7247071"/>
            <a:ext cx="64" cy="97271"/>
          </a:xfrm>
        </p:spPr>
        <p:txBody>
          <a:bodyPr/>
          <a:lstStyle/>
          <a:p>
            <a:endParaRPr lang="nb-NO"/>
          </a:p>
        </p:txBody>
      </p:sp>
      <p:sp>
        <p:nvSpPr>
          <p:cNvPr id="5" name="Plassholder for tekst 4">
            <a:extLst>
              <a:ext uri="{FF2B5EF4-FFF2-40B4-BE49-F238E27FC236}">
                <a16:creationId xmlns:a16="http://schemas.microsoft.com/office/drawing/2014/main" id="{3E7E2305-9413-15AA-B0FE-1121A3472F92}"/>
              </a:ext>
            </a:extLst>
          </p:cNvPr>
          <p:cNvSpPr>
            <a:spLocks noGrp="1"/>
          </p:cNvSpPr>
          <p:nvPr>
            <p:ph type="body" sz="quarter" idx="11"/>
          </p:nvPr>
        </p:nvSpPr>
        <p:spPr>
          <a:xfrm>
            <a:off x="231134" y="2658140"/>
            <a:ext cx="4558618" cy="757448"/>
          </a:xfrm>
        </p:spPr>
        <p:txBody>
          <a:bodyPr/>
          <a:lstStyle/>
          <a:p>
            <a:r>
              <a:rPr lang="nb-NO" sz="4210" dirty="0"/>
              <a:t>Å skape fremtidens opplevelse</a:t>
            </a:r>
          </a:p>
        </p:txBody>
      </p:sp>
      <p:sp>
        <p:nvSpPr>
          <p:cNvPr id="6" name="Rektangel: avrundede hjørner 5">
            <a:extLst>
              <a:ext uri="{FF2B5EF4-FFF2-40B4-BE49-F238E27FC236}">
                <a16:creationId xmlns:a16="http://schemas.microsoft.com/office/drawing/2014/main" id="{86660A7C-C554-091C-90C5-2A6DA0110BB0}"/>
              </a:ext>
            </a:extLst>
          </p:cNvPr>
          <p:cNvSpPr/>
          <p:nvPr/>
        </p:nvSpPr>
        <p:spPr>
          <a:xfrm>
            <a:off x="7398376" y="2186866"/>
            <a:ext cx="2667973" cy="1238603"/>
          </a:xfrm>
          <a:prstGeom prst="roundRect">
            <a:avLst>
              <a:gd name="adj" fmla="val 6084"/>
            </a:avLst>
          </a:prstGeom>
        </p:spPr>
        <p:style>
          <a:lnRef idx="3">
            <a:schemeClr val="lt1"/>
          </a:lnRef>
          <a:fillRef idx="1">
            <a:schemeClr val="accent5"/>
          </a:fillRef>
          <a:effectRef idx="1">
            <a:schemeClr val="accent5"/>
          </a:effectRef>
          <a:fontRef idx="minor">
            <a:schemeClr val="lt1"/>
          </a:fontRef>
        </p:style>
        <p:txBody>
          <a:bodyPr rtlCol="0" anchor="ctr"/>
          <a:lstStyle/>
          <a:p>
            <a:r>
              <a:rPr lang="nb-NO" dirty="0">
                <a:solidFill>
                  <a:schemeClr val="accent1"/>
                </a:solidFill>
              </a:rPr>
              <a:t>Tilhørighet</a:t>
            </a:r>
          </a:p>
          <a:p>
            <a:br>
              <a:rPr lang="nb-NO" sz="1053" dirty="0">
                <a:solidFill>
                  <a:schemeClr val="accent1"/>
                </a:solidFill>
              </a:rPr>
            </a:br>
            <a:r>
              <a:rPr lang="nb-NO" sz="1053" dirty="0">
                <a:solidFill>
                  <a:schemeClr val="accent1"/>
                </a:solidFill>
              </a:rPr>
              <a:t>Bygger et miljø en føler seg en del av, bidrar til og trives i </a:t>
            </a:r>
          </a:p>
          <a:p>
            <a:br>
              <a:rPr lang="nb-NO" sz="1053" dirty="0">
                <a:solidFill>
                  <a:schemeClr val="accent1"/>
                </a:solidFill>
              </a:rPr>
            </a:br>
            <a:r>
              <a:rPr lang="nb-NO" sz="965" i="1" dirty="0">
                <a:solidFill>
                  <a:schemeClr val="accent1"/>
                </a:solidFill>
              </a:rPr>
              <a:t>Kontoret er rammen for fellesskap og samhold</a:t>
            </a:r>
            <a:endParaRPr lang="nb-NO" sz="1053" i="1" dirty="0">
              <a:solidFill>
                <a:schemeClr val="accent1"/>
              </a:solidFill>
            </a:endParaRPr>
          </a:p>
        </p:txBody>
      </p:sp>
      <p:sp>
        <p:nvSpPr>
          <p:cNvPr id="7" name="Rektangel: avrundede hjørner 6">
            <a:extLst>
              <a:ext uri="{FF2B5EF4-FFF2-40B4-BE49-F238E27FC236}">
                <a16:creationId xmlns:a16="http://schemas.microsoft.com/office/drawing/2014/main" id="{898EE7A8-59CA-D9A1-110D-E592267C8F70}"/>
              </a:ext>
            </a:extLst>
          </p:cNvPr>
          <p:cNvSpPr/>
          <p:nvPr/>
        </p:nvSpPr>
        <p:spPr>
          <a:xfrm>
            <a:off x="7398376" y="3502871"/>
            <a:ext cx="2667973" cy="1238603"/>
          </a:xfrm>
          <a:prstGeom prst="roundRect">
            <a:avLst>
              <a:gd name="adj" fmla="val 7952"/>
            </a:avLst>
          </a:prstGeom>
        </p:spPr>
        <p:style>
          <a:lnRef idx="3">
            <a:schemeClr val="lt1"/>
          </a:lnRef>
          <a:fillRef idx="1">
            <a:schemeClr val="accent6"/>
          </a:fillRef>
          <a:effectRef idx="1">
            <a:schemeClr val="accent6"/>
          </a:effectRef>
          <a:fontRef idx="minor">
            <a:schemeClr val="lt1"/>
          </a:fontRef>
        </p:style>
        <p:txBody>
          <a:bodyPr rtlCol="0" anchor="ctr"/>
          <a:lstStyle/>
          <a:p>
            <a:r>
              <a:rPr lang="nb-NO" dirty="0">
                <a:solidFill>
                  <a:schemeClr val="accent1"/>
                </a:solidFill>
              </a:rPr>
              <a:t>Dynamikk</a:t>
            </a:r>
          </a:p>
          <a:p>
            <a:br>
              <a:rPr lang="nb-NO" sz="1053" dirty="0">
                <a:solidFill>
                  <a:schemeClr val="accent1"/>
                </a:solidFill>
              </a:rPr>
            </a:br>
            <a:r>
              <a:rPr lang="nb-NO" sz="1053" dirty="0">
                <a:solidFill>
                  <a:schemeClr val="accent1"/>
                </a:solidFill>
              </a:rPr>
              <a:t>Designet for å skape en dynamikk som reflekterer kulturen og miljøet</a:t>
            </a:r>
          </a:p>
          <a:p>
            <a:br>
              <a:rPr lang="nb-NO" sz="1053" dirty="0">
                <a:solidFill>
                  <a:schemeClr val="accent1"/>
                </a:solidFill>
              </a:rPr>
            </a:br>
            <a:r>
              <a:rPr lang="nb-NO" sz="965" i="1" dirty="0">
                <a:solidFill>
                  <a:schemeClr val="accent1"/>
                </a:solidFill>
              </a:rPr>
              <a:t>Kontoret som en bjelke for samarbeid og læring</a:t>
            </a:r>
          </a:p>
        </p:txBody>
      </p:sp>
      <p:sp>
        <p:nvSpPr>
          <p:cNvPr id="8" name="Rektangel: avrundede hjørner 7">
            <a:extLst>
              <a:ext uri="{FF2B5EF4-FFF2-40B4-BE49-F238E27FC236}">
                <a16:creationId xmlns:a16="http://schemas.microsoft.com/office/drawing/2014/main" id="{233E8EA6-0312-5DD4-F0AF-0326E863721F}"/>
              </a:ext>
            </a:extLst>
          </p:cNvPr>
          <p:cNvSpPr/>
          <p:nvPr/>
        </p:nvSpPr>
        <p:spPr>
          <a:xfrm>
            <a:off x="7398376" y="4844662"/>
            <a:ext cx="2667973" cy="1238603"/>
          </a:xfrm>
          <a:prstGeom prst="roundRect">
            <a:avLst>
              <a:gd name="adj" fmla="val 7952"/>
            </a:avLst>
          </a:prstGeom>
          <a:solidFill>
            <a:srgbClr val="FFE9CA"/>
          </a:solidFill>
          <a:ln/>
        </p:spPr>
        <p:style>
          <a:lnRef idx="3">
            <a:schemeClr val="lt1"/>
          </a:lnRef>
          <a:fillRef idx="1">
            <a:schemeClr val="accent2"/>
          </a:fillRef>
          <a:effectRef idx="1">
            <a:schemeClr val="accent2"/>
          </a:effectRef>
          <a:fontRef idx="minor">
            <a:schemeClr val="lt1"/>
          </a:fontRef>
        </p:style>
        <p:txBody>
          <a:bodyPr rtlCol="0" anchor="ctr"/>
          <a:lstStyle/>
          <a:p>
            <a:r>
              <a:rPr lang="nb-NO">
                <a:solidFill>
                  <a:schemeClr val="accent1"/>
                </a:solidFill>
              </a:rPr>
              <a:t>Daglig behov</a:t>
            </a:r>
          </a:p>
          <a:p>
            <a:br>
              <a:rPr lang="nb-NO" sz="1053">
                <a:solidFill>
                  <a:schemeClr val="accent1"/>
                </a:solidFill>
              </a:rPr>
            </a:br>
            <a:r>
              <a:rPr lang="nb-NO" sz="1053">
                <a:solidFill>
                  <a:schemeClr val="accent1"/>
                </a:solidFill>
              </a:rPr>
              <a:t>De daglige behovene møtes på en sømløs og intuitiv måte</a:t>
            </a:r>
          </a:p>
          <a:p>
            <a:br>
              <a:rPr lang="nb-NO" sz="1053">
                <a:solidFill>
                  <a:schemeClr val="accent1"/>
                </a:solidFill>
              </a:rPr>
            </a:br>
            <a:r>
              <a:rPr lang="nb-NO" sz="965" i="1">
                <a:solidFill>
                  <a:schemeClr val="accent1"/>
                </a:solidFill>
              </a:rPr>
              <a:t>Kontoret som et strategisk fortrinn</a:t>
            </a:r>
          </a:p>
        </p:txBody>
      </p:sp>
    </p:spTree>
    <p:extLst>
      <p:ext uri="{BB962C8B-B14F-4D97-AF65-F5344CB8AC3E}">
        <p14:creationId xmlns:p14="http://schemas.microsoft.com/office/powerpoint/2010/main" val="4103528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1393" y="775299"/>
          <a:ext cx="1392" cy="1392"/>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1393" y="775299"/>
                        <a:ext cx="1392" cy="1392"/>
                      </a:xfrm>
                      <a:prstGeom prst="rect">
                        <a:avLst/>
                      </a:prstGeom>
                    </p:spPr>
                  </p:pic>
                </p:oleObj>
              </mc:Fallback>
            </mc:AlternateContent>
          </a:graphicData>
        </a:graphic>
      </p:graphicFrame>
      <p:sp>
        <p:nvSpPr>
          <p:cNvPr id="11" name="Plassholder for tekst 10">
            <a:extLst>
              <a:ext uri="{FF2B5EF4-FFF2-40B4-BE49-F238E27FC236}">
                <a16:creationId xmlns:a16="http://schemas.microsoft.com/office/drawing/2014/main" id="{F4B23F23-41C2-53D9-F165-114E8B3F6345}"/>
              </a:ext>
            </a:extLst>
          </p:cNvPr>
          <p:cNvSpPr>
            <a:spLocks noGrp="1"/>
          </p:cNvSpPr>
          <p:nvPr>
            <p:ph type="body" sz="quarter" idx="13"/>
          </p:nvPr>
        </p:nvSpPr>
        <p:spPr>
          <a:xfrm>
            <a:off x="10462202" y="6517885"/>
            <a:ext cx="65" cy="97271"/>
          </a:xfrm>
        </p:spPr>
        <p:txBody>
          <a:bodyPr/>
          <a:lstStyle/>
          <a:p>
            <a:endParaRPr lang="nb-NO"/>
          </a:p>
        </p:txBody>
      </p:sp>
      <p:sp>
        <p:nvSpPr>
          <p:cNvPr id="16" name="TextBox 1">
            <a:extLst>
              <a:ext uri="{FF2B5EF4-FFF2-40B4-BE49-F238E27FC236}">
                <a16:creationId xmlns:a16="http://schemas.microsoft.com/office/drawing/2014/main" id="{FABAD98C-792E-1264-9FB5-514C5B739263}"/>
              </a:ext>
            </a:extLst>
          </p:cNvPr>
          <p:cNvSpPr txBox="1">
            <a:spLocks noGrp="1"/>
          </p:cNvSpPr>
          <p:nvPr>
            <p:ph type="body" sz="quarter" idx="11"/>
          </p:nvPr>
        </p:nvSpPr>
        <p:spPr>
          <a:xfrm>
            <a:off x="231133" y="971623"/>
            <a:ext cx="9185271" cy="380810"/>
          </a:xfrm>
          <a:prstGeom prst="rect">
            <a:avLst/>
          </a:prstGeom>
          <a:noFill/>
        </p:spPr>
        <p:txBody>
          <a:bodyPr wrap="none" lIns="0" tIns="0" rIns="0" bIns="0" rtlCol="0">
            <a:spAutoFit/>
          </a:bodyPr>
          <a:lstStyle/>
          <a:p>
            <a:pPr algn="l">
              <a:lnSpc>
                <a:spcPct val="105000"/>
              </a:lnSpc>
            </a:pPr>
            <a:r>
              <a:rPr lang="nb-NO" dirty="0">
                <a:solidFill>
                  <a:schemeClr val="accent1"/>
                </a:solidFill>
                <a:latin typeface="Fold Grotesque Pro Light" panose="020B0303030201040103" pitchFamily="34" charset="0"/>
              </a:rPr>
              <a:t>Skal kontoret tiltrekke – må det støtte både fokusarbeid </a:t>
            </a:r>
            <a:r>
              <a:rPr lang="nb-NO" i="1" dirty="0">
                <a:solidFill>
                  <a:schemeClr val="accent1"/>
                </a:solidFill>
                <a:latin typeface="Fold Grotesque Pro Light" panose="020B0303030201040103" pitchFamily="34" charset="0"/>
              </a:rPr>
              <a:t>og</a:t>
            </a:r>
            <a:r>
              <a:rPr lang="nb-NO" dirty="0">
                <a:solidFill>
                  <a:schemeClr val="accent1"/>
                </a:solidFill>
                <a:latin typeface="Fold Grotesque Pro Light" panose="020B0303030201040103" pitchFamily="34" charset="0"/>
              </a:rPr>
              <a:t> samhandling</a:t>
            </a:r>
          </a:p>
        </p:txBody>
      </p:sp>
      <p:pic>
        <p:nvPicPr>
          <p:cNvPr id="18" name="Bilde 17">
            <a:extLst>
              <a:ext uri="{FF2B5EF4-FFF2-40B4-BE49-F238E27FC236}">
                <a16:creationId xmlns:a16="http://schemas.microsoft.com/office/drawing/2014/main" id="{F3269A5C-5641-4ECE-77F4-5B946B7C320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04823" y="2106686"/>
            <a:ext cx="2665533" cy="3992160"/>
          </a:xfrm>
          <a:prstGeom prst="rect">
            <a:avLst/>
          </a:prstGeom>
        </p:spPr>
      </p:pic>
      <p:pic>
        <p:nvPicPr>
          <p:cNvPr id="21" name="Bilde 20">
            <a:extLst>
              <a:ext uri="{FF2B5EF4-FFF2-40B4-BE49-F238E27FC236}">
                <a16:creationId xmlns:a16="http://schemas.microsoft.com/office/drawing/2014/main" id="{C242608E-47EC-0614-1FAA-642A47B539B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7052" y="2106687"/>
            <a:ext cx="5985057" cy="3992161"/>
          </a:xfrm>
          <a:prstGeom prst="rect">
            <a:avLst/>
          </a:prstGeom>
        </p:spPr>
      </p:pic>
    </p:spTree>
    <p:custDataLst>
      <p:tags r:id="rId1"/>
    </p:custDataLst>
    <p:extLst>
      <p:ext uri="{BB962C8B-B14F-4D97-AF65-F5344CB8AC3E}">
        <p14:creationId xmlns:p14="http://schemas.microsoft.com/office/powerpoint/2010/main" val="658967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5D748EC-2B5B-2388-8602-0E5E156B5249}"/>
              </a:ext>
            </a:extLst>
          </p:cNvPr>
          <p:cNvGraphicFramePr>
            <a:graphicFrameLocks noChangeAspect="1"/>
          </p:cNvGraphicFramePr>
          <p:nvPr>
            <p:custDataLst>
              <p:tags r:id="rId1"/>
            </p:custDataLst>
          </p:nvPr>
        </p:nvGraphicFramePr>
        <p:xfrm>
          <a:off x="1393" y="775299"/>
          <a:ext cx="1393" cy="1393"/>
        </p:xfrm>
        <a:graphic>
          <a:graphicData uri="http://schemas.openxmlformats.org/presentationml/2006/ole">
            <mc:AlternateContent xmlns:mc="http://schemas.openxmlformats.org/markup-compatibility/2006">
              <mc:Choice xmlns:v="urn:schemas-microsoft-com:vml" Requires="v">
                <p:oleObj name="think-cell Slide" r:id="rId4" imgW="164" imgH="164" progId="TCLayout.ActiveDocument.1">
                  <p:embed/>
                </p:oleObj>
              </mc:Choice>
              <mc:Fallback>
                <p:oleObj name="think-cell Slide" r:id="rId4" imgW="164" imgH="164" progId="TCLayout.ActiveDocument.1">
                  <p:embed/>
                  <p:pic>
                    <p:nvPicPr>
                      <p:cNvPr id="10" name="think-cell data - do not delete" hidden="1">
                        <a:extLst>
                          <a:ext uri="{FF2B5EF4-FFF2-40B4-BE49-F238E27FC236}">
                            <a16:creationId xmlns:a16="http://schemas.microsoft.com/office/drawing/2014/main" id="{D5D748EC-2B5B-2388-8602-0E5E156B5249}"/>
                          </a:ext>
                        </a:extLst>
                      </p:cNvPr>
                      <p:cNvPicPr/>
                      <p:nvPr/>
                    </p:nvPicPr>
                    <p:blipFill>
                      <a:blip r:embed="rId5"/>
                      <a:stretch>
                        <a:fillRect/>
                      </a:stretch>
                    </p:blipFill>
                    <p:spPr>
                      <a:xfrm>
                        <a:off x="1393" y="775299"/>
                        <a:ext cx="1393" cy="1393"/>
                      </a:xfrm>
                      <a:prstGeom prst="rect">
                        <a:avLst/>
                      </a:prstGeom>
                    </p:spPr>
                  </p:pic>
                </p:oleObj>
              </mc:Fallback>
            </mc:AlternateContent>
          </a:graphicData>
        </a:graphic>
      </p:graphicFrame>
      <p:sp>
        <p:nvSpPr>
          <p:cNvPr id="5" name="Plassholder for tekst 4">
            <a:extLst>
              <a:ext uri="{FF2B5EF4-FFF2-40B4-BE49-F238E27FC236}">
                <a16:creationId xmlns:a16="http://schemas.microsoft.com/office/drawing/2014/main" id="{C1DFC514-A26F-EF35-9507-55604BBA508F}"/>
              </a:ext>
            </a:extLst>
          </p:cNvPr>
          <p:cNvSpPr>
            <a:spLocks noGrp="1"/>
          </p:cNvSpPr>
          <p:nvPr>
            <p:ph type="body" sz="quarter" idx="11"/>
          </p:nvPr>
        </p:nvSpPr>
        <p:spPr/>
        <p:txBody>
          <a:bodyPr/>
          <a:lstStyle/>
          <a:p>
            <a:r>
              <a:rPr lang="nb-NO" dirty="0"/>
              <a:t>Kontoret er et virkemiddel – viktig å definere hva det skal brukes til</a:t>
            </a:r>
          </a:p>
        </p:txBody>
      </p:sp>
      <p:sp>
        <p:nvSpPr>
          <p:cNvPr id="8" name="Plassholder for innhold 7">
            <a:extLst>
              <a:ext uri="{FF2B5EF4-FFF2-40B4-BE49-F238E27FC236}">
                <a16:creationId xmlns:a16="http://schemas.microsoft.com/office/drawing/2014/main" id="{03944F94-2CB3-D881-1BD1-96BB4C4714D0}"/>
              </a:ext>
            </a:extLst>
          </p:cNvPr>
          <p:cNvSpPr>
            <a:spLocks noGrp="1"/>
          </p:cNvSpPr>
          <p:nvPr>
            <p:ph sz="quarter" idx="18"/>
          </p:nvPr>
        </p:nvSpPr>
        <p:spPr/>
        <p:txBody>
          <a:bodyPr/>
          <a:lstStyle/>
          <a:p>
            <a:pPr marL="0" indent="0">
              <a:buClr>
                <a:schemeClr val="bg2"/>
              </a:buClr>
              <a:buNone/>
            </a:pPr>
            <a:r>
              <a:rPr lang="nb-NO" sz="1403" dirty="0"/>
              <a:t>Et målbilde </a:t>
            </a:r>
            <a:r>
              <a:rPr lang="nb-NO" sz="1403" b="1" dirty="0"/>
              <a:t>definerer hvilke effekter kontoret skal levere på </a:t>
            </a:r>
            <a:r>
              <a:rPr lang="nb-NO" sz="1403" dirty="0"/>
              <a:t>og bør fungere som en </a:t>
            </a:r>
            <a:r>
              <a:rPr lang="nb-NO" sz="1403" b="1" dirty="0"/>
              <a:t>veileder gjennom alle faser</a:t>
            </a:r>
            <a:r>
              <a:rPr lang="nb-NO" sz="1403" dirty="0"/>
              <a:t> av prosessen. </a:t>
            </a:r>
          </a:p>
          <a:p>
            <a:pPr marL="0" indent="0">
              <a:buClr>
                <a:schemeClr val="bg2"/>
              </a:buClr>
              <a:buNone/>
            </a:pPr>
            <a:r>
              <a:rPr lang="nb-NO" sz="1403" dirty="0"/>
              <a:t>Sikrer at alle valg underveis i prosjektet støtter ønsket sluttresultat</a:t>
            </a:r>
          </a:p>
          <a:p>
            <a:pPr marL="0" indent="0">
              <a:buClr>
                <a:schemeClr val="bg2"/>
              </a:buClr>
              <a:buNone/>
            </a:pPr>
            <a:r>
              <a:rPr lang="nb-NO" sz="1403" dirty="0"/>
              <a:t>Målbildet </a:t>
            </a:r>
            <a:r>
              <a:rPr lang="nb-NO" sz="1403" b="1" dirty="0"/>
              <a:t>hjelper utleiere forstå </a:t>
            </a:r>
            <a:r>
              <a:rPr lang="nb-NO" sz="1403" dirty="0"/>
              <a:t>leietaker sin visjon, krav og forventninger, og gir grunnlag for et mer målrettet og relevant tilbud,</a:t>
            </a:r>
          </a:p>
          <a:p>
            <a:pPr marL="0" indent="0">
              <a:buClr>
                <a:schemeClr val="bg2"/>
              </a:buClr>
              <a:buNone/>
            </a:pPr>
            <a:r>
              <a:rPr lang="nb-NO" sz="1403" dirty="0"/>
              <a:t>Viktig del av </a:t>
            </a:r>
            <a:r>
              <a:rPr lang="nb-NO" sz="1403" b="1" dirty="0"/>
              <a:t>intern kommunikasjon </a:t>
            </a:r>
            <a:r>
              <a:rPr lang="nb-NO" sz="1403" dirty="0"/>
              <a:t>ved å skape forståelse for at dette ikke handler om individuelle preferanser, men </a:t>
            </a:r>
            <a:r>
              <a:rPr lang="nb-NO" sz="1403" b="1" dirty="0"/>
              <a:t>fellesskapets beste</a:t>
            </a:r>
            <a:endParaRPr lang="nb-NO" sz="1754" b="1" dirty="0">
              <a:cs typeface="Arial"/>
            </a:endParaRPr>
          </a:p>
        </p:txBody>
      </p:sp>
      <p:sp>
        <p:nvSpPr>
          <p:cNvPr id="9" name="Plassholder for tekst 8">
            <a:extLst>
              <a:ext uri="{FF2B5EF4-FFF2-40B4-BE49-F238E27FC236}">
                <a16:creationId xmlns:a16="http://schemas.microsoft.com/office/drawing/2014/main" id="{EA547B4C-0723-6FBD-27DF-F46E71DEBCA4}"/>
              </a:ext>
            </a:extLst>
          </p:cNvPr>
          <p:cNvSpPr>
            <a:spLocks noGrp="1"/>
          </p:cNvSpPr>
          <p:nvPr>
            <p:ph type="body" sz="quarter" idx="13"/>
          </p:nvPr>
        </p:nvSpPr>
        <p:spPr>
          <a:xfrm>
            <a:off x="5251955" y="7247071"/>
            <a:ext cx="64" cy="97271"/>
          </a:xfrm>
        </p:spPr>
        <p:txBody>
          <a:bodyPr/>
          <a:lstStyle/>
          <a:p>
            <a:endParaRPr lang="nb-NO"/>
          </a:p>
        </p:txBody>
      </p:sp>
      <p:pic>
        <p:nvPicPr>
          <p:cNvPr id="19" name="Plassholder for bilde 18">
            <a:extLst>
              <a:ext uri="{FF2B5EF4-FFF2-40B4-BE49-F238E27FC236}">
                <a16:creationId xmlns:a16="http://schemas.microsoft.com/office/drawing/2014/main" id="{CA4E647A-3395-C2A7-C5A8-B965CAA80E62}"/>
              </a:ext>
            </a:extLst>
          </p:cNvPr>
          <p:cNvPicPr>
            <a:picLocks noGrp="1"/>
          </p:cNvPicPr>
          <p:nvPr>
            <p:ph type="pic" sz="quarter" idx="17"/>
          </p:nvPr>
        </p:nvPicPr>
        <p:blipFill>
          <a:blip r:embed="rId6">
            <a:extLst>
              <a:ext uri="{28A0092B-C50C-407E-A947-70E740481C1C}">
                <a14:useLocalDpi xmlns:a14="http://schemas.microsoft.com/office/drawing/2010/main" val="0"/>
              </a:ext>
            </a:extLst>
          </a:blip>
          <a:srcRect l="19766" r="19766"/>
          <a:stretch>
            <a:fillRect/>
          </a:stretch>
        </p:blipFill>
        <p:spPr/>
      </p:pic>
      <p:sp>
        <p:nvSpPr>
          <p:cNvPr id="4" name="Plassholder for lysbildenummer 3">
            <a:extLst>
              <a:ext uri="{FF2B5EF4-FFF2-40B4-BE49-F238E27FC236}">
                <a16:creationId xmlns:a16="http://schemas.microsoft.com/office/drawing/2014/main" id="{76F133B5-D0E5-B020-7C7B-682D0D05115D}"/>
              </a:ext>
            </a:extLst>
          </p:cNvPr>
          <p:cNvSpPr>
            <a:spLocks noGrp="1"/>
          </p:cNvSpPr>
          <p:nvPr>
            <p:ph type="sldNum" sz="quarter" idx="4294967295"/>
          </p:nvPr>
        </p:nvSpPr>
        <p:spPr>
          <a:xfrm>
            <a:off x="0" y="773906"/>
            <a:ext cx="0" cy="0"/>
          </a:xfrm>
        </p:spPr>
        <p:txBody>
          <a:bodyPr/>
          <a:lstStyle/>
          <a:p>
            <a:pPr algn="l" defTabSz="802020" rtl="0">
              <a:defRPr/>
            </a:pPr>
            <a:r>
              <a:rPr lang="en-GB" sz="1579" kern="1200">
                <a:solidFill>
                  <a:srgbClr val="3C0025"/>
                </a:solidFill>
                <a:latin typeface="Fold Grotesque Pro Light"/>
                <a:ea typeface="+mn-ea"/>
                <a:cs typeface="+mn-cs"/>
              </a:rPr>
              <a:t> </a:t>
            </a:r>
          </a:p>
        </p:txBody>
      </p:sp>
    </p:spTree>
    <p:extLst>
      <p:ext uri="{BB962C8B-B14F-4D97-AF65-F5344CB8AC3E}">
        <p14:creationId xmlns:p14="http://schemas.microsoft.com/office/powerpoint/2010/main" val="7329301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F60EE-AD3A-BBD0-E080-7DFB02DDBF2C}"/>
            </a:ext>
          </a:extLst>
        </p:cNvPr>
        <p:cNvGrpSpPr/>
        <p:nvPr/>
      </p:nvGrpSpPr>
      <p:grpSpPr>
        <a:xfrm>
          <a:off x="0" y="0"/>
          <a:ext cx="0" cy="0"/>
          <a:chOff x="0" y="0"/>
          <a:chExt cx="0" cy="0"/>
        </a:xfrm>
      </p:grpSpPr>
      <p:pic>
        <p:nvPicPr>
          <p:cNvPr id="46" name="Plassholder for bilde 45" descr="Forretningspersoner som drar et tau">
            <a:extLst>
              <a:ext uri="{FF2B5EF4-FFF2-40B4-BE49-F238E27FC236}">
                <a16:creationId xmlns:a16="http://schemas.microsoft.com/office/drawing/2014/main" id="{C6BAEEE9-AF17-6800-FA08-1AAF37AC9345}"/>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20182" r="20182"/>
          <a:stretch>
            <a:fillRect/>
          </a:stretch>
        </p:blipFill>
        <p:spPr/>
      </p:pic>
      <p:sp>
        <p:nvSpPr>
          <p:cNvPr id="5" name="Plassholder for tekst 4">
            <a:extLst>
              <a:ext uri="{FF2B5EF4-FFF2-40B4-BE49-F238E27FC236}">
                <a16:creationId xmlns:a16="http://schemas.microsoft.com/office/drawing/2014/main" id="{68318831-92D2-6BB4-7E84-E3A377B49CCD}"/>
              </a:ext>
            </a:extLst>
          </p:cNvPr>
          <p:cNvSpPr>
            <a:spLocks noGrp="1"/>
          </p:cNvSpPr>
          <p:nvPr>
            <p:ph type="body" sz="quarter" idx="11"/>
          </p:nvPr>
        </p:nvSpPr>
        <p:spPr/>
        <p:txBody>
          <a:bodyPr/>
          <a:lstStyle/>
          <a:p>
            <a:r>
              <a:rPr lang="nb-NO" sz="2339" dirty="0"/>
              <a:t>Kontraktsutløp – hvordan bør vi gripe det an? </a:t>
            </a:r>
          </a:p>
        </p:txBody>
      </p:sp>
      <p:sp>
        <p:nvSpPr>
          <p:cNvPr id="30" name="Plassholder for innhold 29">
            <a:extLst>
              <a:ext uri="{FF2B5EF4-FFF2-40B4-BE49-F238E27FC236}">
                <a16:creationId xmlns:a16="http://schemas.microsoft.com/office/drawing/2014/main" id="{7E0673D6-E086-7427-8311-572CBE74DA73}"/>
              </a:ext>
            </a:extLst>
          </p:cNvPr>
          <p:cNvSpPr>
            <a:spLocks noGrp="1"/>
          </p:cNvSpPr>
          <p:nvPr>
            <p:ph sz="quarter" idx="18"/>
          </p:nvPr>
        </p:nvSpPr>
        <p:spPr/>
        <p:txBody>
          <a:bodyPr/>
          <a:lstStyle/>
          <a:p>
            <a:r>
              <a:rPr lang="nb-NO" dirty="0"/>
              <a:t>Engasjer en rådgiver som ivaretar dine interesser</a:t>
            </a:r>
          </a:p>
          <a:p>
            <a:r>
              <a:rPr lang="nb-NO" dirty="0"/>
              <a:t>Etabler en god struktur så du tar riktig diskusjon til riktig tid</a:t>
            </a:r>
          </a:p>
          <a:p>
            <a:r>
              <a:rPr lang="nb-NO" dirty="0"/>
              <a:t>Stol på prosessen</a:t>
            </a:r>
          </a:p>
          <a:p>
            <a:r>
              <a:rPr lang="nb-NO" dirty="0"/>
              <a:t>Sett et klar mål for prosjektet. Hva er viktigst? Du får ikke alt..</a:t>
            </a:r>
          </a:p>
          <a:p>
            <a:r>
              <a:rPr lang="nb-NO" dirty="0"/>
              <a:t>Dagens utleier bør konkurranseutsettes – klokt å vite hva som er på menyen før du bestemmer hva du skal spise</a:t>
            </a:r>
          </a:p>
          <a:p>
            <a:r>
              <a:rPr lang="nb-NO" dirty="0"/>
              <a:t>Beslutning om du skal flytte eller bli bør ikke tas for tidlig, skap konkurranse</a:t>
            </a:r>
          </a:p>
        </p:txBody>
      </p:sp>
      <p:sp>
        <p:nvSpPr>
          <p:cNvPr id="37" name="Plassholder for tekst 36">
            <a:extLst>
              <a:ext uri="{FF2B5EF4-FFF2-40B4-BE49-F238E27FC236}">
                <a16:creationId xmlns:a16="http://schemas.microsoft.com/office/drawing/2014/main" id="{154D5375-C36D-6E3F-2BDC-70D26F6B4459}"/>
              </a:ext>
            </a:extLst>
          </p:cNvPr>
          <p:cNvSpPr>
            <a:spLocks noGrp="1"/>
          </p:cNvSpPr>
          <p:nvPr>
            <p:ph type="body" sz="quarter" idx="19"/>
          </p:nvPr>
        </p:nvSpPr>
        <p:spPr/>
        <p:txBody>
          <a:bodyPr/>
          <a:lstStyle/>
          <a:p>
            <a:r>
              <a:rPr lang="nb-NO" dirty="0"/>
              <a:t>Du trenger ikke starte med fasiten</a:t>
            </a:r>
          </a:p>
        </p:txBody>
      </p:sp>
      <p:sp>
        <p:nvSpPr>
          <p:cNvPr id="20" name="Plassholder for tekst 19">
            <a:extLst>
              <a:ext uri="{FF2B5EF4-FFF2-40B4-BE49-F238E27FC236}">
                <a16:creationId xmlns:a16="http://schemas.microsoft.com/office/drawing/2014/main" id="{CE79652F-FC5D-DB1A-C767-157A9F096391}"/>
              </a:ext>
            </a:extLst>
          </p:cNvPr>
          <p:cNvSpPr>
            <a:spLocks noGrp="1"/>
          </p:cNvSpPr>
          <p:nvPr>
            <p:ph type="body" sz="quarter" idx="13"/>
          </p:nvPr>
        </p:nvSpPr>
        <p:spPr>
          <a:xfrm>
            <a:off x="5251955" y="7247071"/>
            <a:ext cx="64" cy="97271"/>
          </a:xfrm>
        </p:spPr>
        <p:txBody>
          <a:bodyPr/>
          <a:lstStyle/>
          <a:p>
            <a:endParaRPr lang="nb-NO"/>
          </a:p>
        </p:txBody>
      </p:sp>
    </p:spTree>
    <p:extLst>
      <p:ext uri="{BB962C8B-B14F-4D97-AF65-F5344CB8AC3E}">
        <p14:creationId xmlns:p14="http://schemas.microsoft.com/office/powerpoint/2010/main" val="359349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uppe 29">
            <a:extLst>
              <a:ext uri="{FF2B5EF4-FFF2-40B4-BE49-F238E27FC236}">
                <a16:creationId xmlns:a16="http://schemas.microsoft.com/office/drawing/2014/main" id="{9067D34B-823B-8C5E-2147-2B6BE8598A84}"/>
              </a:ext>
            </a:extLst>
          </p:cNvPr>
          <p:cNvGrpSpPr/>
          <p:nvPr/>
        </p:nvGrpSpPr>
        <p:grpSpPr>
          <a:xfrm>
            <a:off x="420568" y="3333006"/>
            <a:ext cx="4280762" cy="2937183"/>
            <a:chOff x="-5811921" y="3565317"/>
            <a:chExt cx="4880679" cy="3348807"/>
          </a:xfrm>
          <a:solidFill>
            <a:srgbClr val="FFE9CA"/>
          </a:solidFill>
        </p:grpSpPr>
        <p:sp>
          <p:nvSpPr>
            <p:cNvPr id="27" name="Avrundet rektangel 26">
              <a:extLst>
                <a:ext uri="{FF2B5EF4-FFF2-40B4-BE49-F238E27FC236}">
                  <a16:creationId xmlns:a16="http://schemas.microsoft.com/office/drawing/2014/main" id="{C2D44E54-8EE9-48AE-0AF1-5C324F11F7EA}"/>
                </a:ext>
              </a:extLst>
            </p:cNvPr>
            <p:cNvSpPr/>
            <p:nvPr/>
          </p:nvSpPr>
          <p:spPr>
            <a:xfrm>
              <a:off x="-5811921" y="3565317"/>
              <a:ext cx="4880679" cy="3348807"/>
            </a:xfrm>
            <a:prstGeom prst="roundRect">
              <a:avLst>
                <a:gd name="adj" fmla="val 2345"/>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00">
                <a:defRPr/>
              </a:pPr>
              <a:endParaRPr lang="nb-NO">
                <a:solidFill>
                  <a:srgbClr val="FFFFFF"/>
                </a:solidFill>
                <a:latin typeface="Fold Grotesque Pro Light"/>
              </a:endParaRPr>
            </a:p>
          </p:txBody>
        </p:sp>
        <p:sp>
          <p:nvSpPr>
            <p:cNvPr id="22" name="TekstSylinder 21">
              <a:extLst>
                <a:ext uri="{FF2B5EF4-FFF2-40B4-BE49-F238E27FC236}">
                  <a16:creationId xmlns:a16="http://schemas.microsoft.com/office/drawing/2014/main" id="{61F2F282-5F82-D14C-8D81-47C84F249FC7}"/>
                </a:ext>
              </a:extLst>
            </p:cNvPr>
            <p:cNvSpPr txBox="1"/>
            <p:nvPr/>
          </p:nvSpPr>
          <p:spPr>
            <a:xfrm>
              <a:off x="-5384944" y="3950201"/>
              <a:ext cx="3906284" cy="2646951"/>
            </a:xfrm>
            <a:prstGeom prst="rect">
              <a:avLst/>
            </a:prstGeom>
            <a:grpFill/>
          </p:spPr>
          <p:txBody>
            <a:bodyPr wrap="square" lIns="80201" tIns="40100" rIns="80201" bIns="40100" anchor="t">
              <a:spAutoFit/>
            </a:bodyPr>
            <a:lstStyle/>
            <a:p>
              <a:pPr marL="250626" indent="-250626" defTabSz="802000">
                <a:buFont typeface="Arial" panose="020B0604020202020204" pitchFamily="34" charset="0"/>
                <a:buChar char="•"/>
                <a:defRPr/>
              </a:pPr>
              <a:r>
                <a:rPr lang="nb-NO" sz="1228" dirty="0">
                  <a:solidFill>
                    <a:srgbClr val="262E36"/>
                  </a:solidFill>
                  <a:latin typeface="Fold Grotesque Pro Light"/>
                  <a:ea typeface="Open Sans"/>
                  <a:cs typeface="Open Sans"/>
                </a:rPr>
                <a:t>Kan dagens lokaler og beliggenhet levere på visjon og behov?</a:t>
              </a:r>
            </a:p>
            <a:p>
              <a:pPr marL="250626" indent="-250626" defTabSz="802000">
                <a:buFont typeface="Arial" panose="020B0604020202020204" pitchFamily="34" charset="0"/>
                <a:buChar char="•"/>
                <a:defRPr/>
              </a:pPr>
              <a:endParaRPr lang="nb-NO" sz="1228" dirty="0">
                <a:solidFill>
                  <a:srgbClr val="262E36"/>
                </a:solidFill>
                <a:latin typeface="Fold Grotesque Pro Light"/>
                <a:ea typeface="Open Sans" panose="020B0606030504020204" pitchFamily="34" charset="0"/>
                <a:cs typeface="Open Sans" panose="020B0606030504020204" pitchFamily="34" charset="0"/>
              </a:endParaRPr>
            </a:p>
            <a:p>
              <a:pPr marL="250626" indent="-250626" defTabSz="802000">
                <a:buFont typeface="Arial" panose="020B0604020202020204" pitchFamily="34" charset="0"/>
                <a:buChar char="•"/>
                <a:defRPr/>
              </a:pPr>
              <a:r>
                <a:rPr lang="nb-NO" sz="1228" dirty="0">
                  <a:solidFill>
                    <a:srgbClr val="262E36"/>
                  </a:solidFill>
                  <a:latin typeface="Fold Grotesque Pro Light"/>
                  <a:ea typeface="Open Sans"/>
                  <a:cs typeface="Open Sans"/>
                </a:rPr>
                <a:t>Identifisere gapet mellom nåsituasjon og nye behov, hva kreves for å tette gapet?</a:t>
              </a:r>
            </a:p>
            <a:p>
              <a:pPr marL="250626" indent="-250626" defTabSz="802000">
                <a:buFont typeface="Arial" panose="020B0604020202020204" pitchFamily="34" charset="0"/>
                <a:buChar char="•"/>
                <a:defRPr/>
              </a:pPr>
              <a:endParaRPr lang="nb-NO" sz="1228" dirty="0">
                <a:solidFill>
                  <a:srgbClr val="262E36"/>
                </a:solidFill>
                <a:latin typeface="Fold Grotesque Pro Light"/>
                <a:ea typeface="Open Sans" panose="020B0606030504020204" pitchFamily="34" charset="0"/>
                <a:cs typeface="Open Sans" panose="020B0606030504020204" pitchFamily="34" charset="0"/>
              </a:endParaRPr>
            </a:p>
            <a:p>
              <a:pPr marL="250626" indent="-250626" defTabSz="802000">
                <a:buFont typeface="Arial" panose="020B0604020202020204" pitchFamily="34" charset="0"/>
                <a:buChar char="•"/>
                <a:defRPr/>
              </a:pPr>
              <a:r>
                <a:rPr lang="nb-NO" sz="1228" dirty="0">
                  <a:solidFill>
                    <a:srgbClr val="262E36"/>
                  </a:solidFill>
                  <a:latin typeface="Fold Grotesque Pro Light"/>
                  <a:ea typeface="Open Sans"/>
                  <a:cs typeface="Open Sans"/>
                </a:rPr>
                <a:t>Hvilken endringer og oppgradering må eventuelt gjøres for å forlenge leieforholdet? </a:t>
              </a:r>
            </a:p>
            <a:p>
              <a:pPr marL="250626" indent="-250626" defTabSz="802000">
                <a:buFont typeface="Arial" panose="020B0604020202020204" pitchFamily="34" charset="0"/>
                <a:buChar char="•"/>
                <a:defRPr/>
              </a:pPr>
              <a:endParaRPr lang="nb-NO" sz="1228" dirty="0">
                <a:solidFill>
                  <a:srgbClr val="262E36"/>
                </a:solidFill>
                <a:latin typeface="Fold Grotesque Pro Light"/>
                <a:ea typeface="Open Sans" panose="020B0606030504020204" pitchFamily="34" charset="0"/>
                <a:cs typeface="Open Sans" panose="020B0606030504020204" pitchFamily="34" charset="0"/>
              </a:endParaRPr>
            </a:p>
            <a:p>
              <a:pPr marL="250626" indent="-250626" defTabSz="802000">
                <a:buFont typeface="Arial" panose="020B0604020202020204" pitchFamily="34" charset="0"/>
                <a:buChar char="•"/>
                <a:defRPr/>
              </a:pPr>
              <a:r>
                <a:rPr lang="nb-NO" sz="1228" dirty="0">
                  <a:solidFill>
                    <a:srgbClr val="262E36"/>
                  </a:solidFill>
                  <a:latin typeface="Fold Grotesque Pro Light"/>
                  <a:ea typeface="Open Sans"/>
                  <a:cs typeface="Open Sans"/>
                </a:rPr>
                <a:t>Hvilke andre muligheter har markedet og er disse potensielt bedre?</a:t>
              </a:r>
            </a:p>
            <a:p>
              <a:pPr defTabSz="802000">
                <a:defRPr/>
              </a:pPr>
              <a:endParaRPr lang="nb-NO" sz="1053" b="1" dirty="0">
                <a:solidFill>
                  <a:srgbClr val="262E36"/>
                </a:solidFill>
                <a:latin typeface="Sequel Sans Book Disp" panose="020B0503050000020004" pitchFamily="34" charset="77"/>
              </a:endParaRPr>
            </a:p>
          </p:txBody>
        </p:sp>
      </p:grpSp>
      <p:sp>
        <p:nvSpPr>
          <p:cNvPr id="10" name="Avrundet rektangel 9">
            <a:extLst>
              <a:ext uri="{FF2B5EF4-FFF2-40B4-BE49-F238E27FC236}">
                <a16:creationId xmlns:a16="http://schemas.microsoft.com/office/drawing/2014/main" id="{790C9B22-E952-C7C3-1CA0-545E405E8B33}"/>
              </a:ext>
            </a:extLst>
          </p:cNvPr>
          <p:cNvSpPr/>
          <p:nvPr/>
        </p:nvSpPr>
        <p:spPr>
          <a:xfrm>
            <a:off x="5392315" y="908566"/>
            <a:ext cx="4663013" cy="5456679"/>
          </a:xfrm>
          <a:prstGeom prst="roundRect">
            <a:avLst>
              <a:gd name="adj" fmla="val 1830"/>
            </a:avLst>
          </a:prstGeom>
          <a:solidFill>
            <a:srgbClr val="FFE9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00">
              <a:defRPr/>
            </a:pPr>
            <a:endParaRPr lang="nb-NO">
              <a:solidFill>
                <a:srgbClr val="FFFFFF"/>
              </a:solidFill>
              <a:latin typeface="Fold Grotesque Pro Light"/>
            </a:endParaRPr>
          </a:p>
        </p:txBody>
      </p:sp>
      <p:sp>
        <p:nvSpPr>
          <p:cNvPr id="12" name="TekstSylinder 11">
            <a:extLst>
              <a:ext uri="{FF2B5EF4-FFF2-40B4-BE49-F238E27FC236}">
                <a16:creationId xmlns:a16="http://schemas.microsoft.com/office/drawing/2014/main" id="{3D32488E-19E3-5D45-04E0-F0106E32CD7E}"/>
              </a:ext>
            </a:extLst>
          </p:cNvPr>
          <p:cNvSpPr txBox="1"/>
          <p:nvPr/>
        </p:nvSpPr>
        <p:spPr>
          <a:xfrm>
            <a:off x="314930" y="1059961"/>
            <a:ext cx="4663013" cy="1538883"/>
          </a:xfrm>
          <a:prstGeom prst="rect">
            <a:avLst/>
          </a:prstGeom>
          <a:noFill/>
        </p:spPr>
        <p:txBody>
          <a:bodyPr wrap="square" lIns="80201" tIns="40100" rIns="80201" bIns="40100" anchor="t">
            <a:spAutoFit/>
          </a:bodyPr>
          <a:lstStyle/>
          <a:p>
            <a:pPr defTabSz="802000">
              <a:defRPr/>
            </a:pPr>
            <a:r>
              <a:rPr lang="nb-NO" sz="3158" dirty="0">
                <a:solidFill>
                  <a:srgbClr val="3C0025"/>
                </a:solidFill>
                <a:latin typeface="Fold Grotesque Pro Light"/>
                <a:ea typeface="Open Sans"/>
                <a:cs typeface="Open Sans"/>
              </a:rPr>
              <a:t>Viktig avklaring – i hvilken grad kan dagens lokaler møte fremtidige behov? </a:t>
            </a:r>
            <a:endParaRPr lang="nb-NO" sz="3158" b="1" dirty="0">
              <a:solidFill>
                <a:srgbClr val="3C0025"/>
              </a:solidFill>
              <a:latin typeface="Fold Grotesque Pro Light"/>
              <a:ea typeface="Open Sans"/>
              <a:cs typeface="Open Sans"/>
            </a:endParaRPr>
          </a:p>
        </p:txBody>
      </p:sp>
      <p:grpSp>
        <p:nvGrpSpPr>
          <p:cNvPr id="32" name="Building35" descr="{&quot;Key&quot;:&quot;POWER_USER_SHAPE_ICON&quot;,&quot;Value&quot;:&quot;POWER_USER_SHAPE_ICON_STYLE_1&quot;}">
            <a:extLst>
              <a:ext uri="{FF2B5EF4-FFF2-40B4-BE49-F238E27FC236}">
                <a16:creationId xmlns:a16="http://schemas.microsoft.com/office/drawing/2014/main" id="{03610D57-62F8-82F7-646E-8F495F094977}"/>
              </a:ext>
            </a:extLst>
          </p:cNvPr>
          <p:cNvGrpSpPr>
            <a:grpSpLocks noChangeAspect="1"/>
          </p:cNvGrpSpPr>
          <p:nvPr/>
        </p:nvGrpSpPr>
        <p:grpSpPr>
          <a:xfrm>
            <a:off x="6070435" y="2330740"/>
            <a:ext cx="3599052" cy="3112623"/>
            <a:chOff x="8263384" y="1189289"/>
            <a:chExt cx="627771" cy="542925"/>
          </a:xfrm>
          <a:solidFill>
            <a:schemeClr val="accent1"/>
          </a:solidFill>
        </p:grpSpPr>
        <p:sp>
          <p:nvSpPr>
            <p:cNvPr id="33" name="Free-form: Shape 248">
              <a:extLst>
                <a:ext uri="{FF2B5EF4-FFF2-40B4-BE49-F238E27FC236}">
                  <a16:creationId xmlns:a16="http://schemas.microsoft.com/office/drawing/2014/main" id="{EED361A9-C2F8-E278-4C77-8D7D53D5A9EA}"/>
                </a:ext>
              </a:extLst>
            </p:cNvPr>
            <p:cNvSpPr/>
            <p:nvPr/>
          </p:nvSpPr>
          <p:spPr>
            <a:xfrm>
              <a:off x="8263384" y="1189289"/>
              <a:ext cx="627771" cy="542925"/>
            </a:xfrm>
            <a:custGeom>
              <a:avLst/>
              <a:gdLst>
                <a:gd name="connsiteX0" fmla="*/ 1490034 w 1858037"/>
                <a:gd name="connsiteY0" fmla="*/ 1605979 h 1606916"/>
                <a:gd name="connsiteX1" fmla="*/ 1438331 w 1858037"/>
                <a:gd name="connsiteY1" fmla="*/ 1538739 h 1606916"/>
                <a:gd name="connsiteX2" fmla="*/ 1442349 w 1858037"/>
                <a:gd name="connsiteY2" fmla="*/ 1339093 h 1606916"/>
                <a:gd name="connsiteX3" fmla="*/ 1440140 w 1858037"/>
                <a:gd name="connsiteY3" fmla="*/ 907053 h 1606916"/>
                <a:gd name="connsiteX4" fmla="*/ 1439938 w 1858037"/>
                <a:gd name="connsiteY4" fmla="*/ 437373 h 1606916"/>
                <a:gd name="connsiteX5" fmla="*/ 1436523 w 1858037"/>
                <a:gd name="connsiteY5" fmla="*/ 434025 h 1606916"/>
                <a:gd name="connsiteX6" fmla="*/ 1171512 w 1858037"/>
                <a:gd name="connsiteY6" fmla="*/ 435565 h 1606916"/>
                <a:gd name="connsiteX7" fmla="*/ 1166489 w 1858037"/>
                <a:gd name="connsiteY7" fmla="*/ 440387 h 1606916"/>
                <a:gd name="connsiteX8" fmla="*/ 1161131 w 1858037"/>
                <a:gd name="connsiteY8" fmla="*/ 738148 h 1606916"/>
                <a:gd name="connsiteX9" fmla="*/ 1160462 w 1858037"/>
                <a:gd name="connsiteY9" fmla="*/ 871892 h 1606916"/>
                <a:gd name="connsiteX10" fmla="*/ 1159055 w 1858037"/>
                <a:gd name="connsiteY10" fmla="*/ 1154919 h 1606916"/>
                <a:gd name="connsiteX11" fmla="*/ 1155439 w 1858037"/>
                <a:gd name="connsiteY11" fmla="*/ 1545704 h 1606916"/>
                <a:gd name="connsiteX12" fmla="*/ 1144120 w 1858037"/>
                <a:gd name="connsiteY12" fmla="*/ 1569881 h 1606916"/>
                <a:gd name="connsiteX13" fmla="*/ 1138696 w 1858037"/>
                <a:gd name="connsiteY13" fmla="*/ 1572359 h 1606916"/>
                <a:gd name="connsiteX14" fmla="*/ 1092886 w 1858037"/>
                <a:gd name="connsiteY14" fmla="*/ 1548852 h 1606916"/>
                <a:gd name="connsiteX15" fmla="*/ 1094695 w 1858037"/>
                <a:gd name="connsiteY15" fmla="*/ 1426894 h 1606916"/>
                <a:gd name="connsiteX16" fmla="*/ 1094427 w 1858037"/>
                <a:gd name="connsiteY16" fmla="*/ 1205148 h 1606916"/>
                <a:gd name="connsiteX17" fmla="*/ 1096771 w 1858037"/>
                <a:gd name="connsiteY17" fmla="*/ 974226 h 1606916"/>
                <a:gd name="connsiteX18" fmla="*/ 1096503 w 1858037"/>
                <a:gd name="connsiteY18" fmla="*/ 709082 h 1606916"/>
                <a:gd name="connsiteX19" fmla="*/ 1092284 w 1858037"/>
                <a:gd name="connsiteY19" fmla="*/ 704662 h 1606916"/>
                <a:gd name="connsiteX20" fmla="*/ 785080 w 1858037"/>
                <a:gd name="connsiteY20" fmla="*/ 686981 h 1606916"/>
                <a:gd name="connsiteX21" fmla="*/ 777378 w 1858037"/>
                <a:gd name="connsiteY21" fmla="*/ 694013 h 1606916"/>
                <a:gd name="connsiteX22" fmla="*/ 780593 w 1858037"/>
                <a:gd name="connsiteY22" fmla="*/ 907187 h 1606916"/>
                <a:gd name="connsiteX23" fmla="*/ 781396 w 1858037"/>
                <a:gd name="connsiteY23" fmla="*/ 987487 h 1606916"/>
                <a:gd name="connsiteX24" fmla="*/ 781530 w 1858037"/>
                <a:gd name="connsiteY24" fmla="*/ 1544900 h 1606916"/>
                <a:gd name="connsiteX25" fmla="*/ 786821 w 1858037"/>
                <a:gd name="connsiteY25" fmla="*/ 1589705 h 1606916"/>
                <a:gd name="connsiteX26" fmla="*/ 781597 w 1858037"/>
                <a:gd name="connsiteY26" fmla="*/ 1596335 h 1606916"/>
                <a:gd name="connsiteX27" fmla="*/ 733913 w 1858037"/>
                <a:gd name="connsiteY27" fmla="*/ 1601827 h 1606916"/>
                <a:gd name="connsiteX28" fmla="*/ 727014 w 1858037"/>
                <a:gd name="connsiteY28" fmla="*/ 1596536 h 1606916"/>
                <a:gd name="connsiteX29" fmla="*/ 718978 w 1858037"/>
                <a:gd name="connsiteY29" fmla="*/ 1540346 h 1606916"/>
                <a:gd name="connsiteX30" fmla="*/ 718040 w 1858037"/>
                <a:gd name="connsiteY30" fmla="*/ 960430 h 1606916"/>
                <a:gd name="connsiteX31" fmla="*/ 712214 w 1858037"/>
                <a:gd name="connsiteY31" fmla="*/ 954603 h 1606916"/>
                <a:gd name="connsiteX32" fmla="*/ 712147 w 1858037"/>
                <a:gd name="connsiteY32" fmla="*/ 954604 h 1606916"/>
                <a:gd name="connsiteX33" fmla="*/ 442649 w 1858037"/>
                <a:gd name="connsiteY33" fmla="*/ 956211 h 1606916"/>
                <a:gd name="connsiteX34" fmla="*/ 435750 w 1858037"/>
                <a:gd name="connsiteY34" fmla="*/ 962841 h 1606916"/>
                <a:gd name="connsiteX35" fmla="*/ 432469 w 1858037"/>
                <a:gd name="connsiteY35" fmla="*/ 1238032 h 1606916"/>
                <a:gd name="connsiteX36" fmla="*/ 431397 w 1858037"/>
                <a:gd name="connsiteY36" fmla="*/ 1477258 h 1606916"/>
                <a:gd name="connsiteX37" fmla="*/ 432268 w 1858037"/>
                <a:gd name="connsiteY37" fmla="*/ 1546173 h 1606916"/>
                <a:gd name="connsiteX38" fmla="*/ 424298 w 1858037"/>
                <a:gd name="connsiteY38" fmla="*/ 1563988 h 1606916"/>
                <a:gd name="connsiteX39" fmla="*/ 425102 w 1858037"/>
                <a:gd name="connsiteY39" fmla="*/ 1585620 h 1606916"/>
                <a:gd name="connsiteX40" fmla="*/ 430125 w 1858037"/>
                <a:gd name="connsiteY40" fmla="*/ 1588901 h 1606916"/>
                <a:gd name="connsiteX41" fmla="*/ 466491 w 1858037"/>
                <a:gd name="connsiteY41" fmla="*/ 1590910 h 1606916"/>
                <a:gd name="connsiteX42" fmla="*/ 624412 w 1858037"/>
                <a:gd name="connsiteY42" fmla="*/ 1596335 h 1606916"/>
                <a:gd name="connsiteX43" fmla="*/ 651670 w 1858037"/>
                <a:gd name="connsiteY43" fmla="*/ 1603837 h 1606916"/>
                <a:gd name="connsiteX44" fmla="*/ 82537 w 1858037"/>
                <a:gd name="connsiteY44" fmla="*/ 1606917 h 1606916"/>
                <a:gd name="connsiteX45" fmla="*/ 41684 w 1858037"/>
                <a:gd name="connsiteY45" fmla="*/ 1606448 h 1606916"/>
                <a:gd name="connsiteX46" fmla="*/ 26 w 1858037"/>
                <a:gd name="connsiteY46" fmla="*/ 1535256 h 1606916"/>
                <a:gd name="connsiteX47" fmla="*/ 2035 w 1858037"/>
                <a:gd name="connsiteY47" fmla="*/ 1121231 h 1606916"/>
                <a:gd name="connsiteX48" fmla="*/ 14760 w 1858037"/>
                <a:gd name="connsiteY48" fmla="*/ 1107435 h 1606916"/>
                <a:gd name="connsiteX49" fmla="*/ 147433 w 1858037"/>
                <a:gd name="connsiteY49" fmla="*/ 1091562 h 1606916"/>
                <a:gd name="connsiteX50" fmla="*/ 365563 w 1858037"/>
                <a:gd name="connsiteY50" fmla="*/ 1069730 h 1606916"/>
                <a:gd name="connsiteX51" fmla="*/ 368644 w 1858037"/>
                <a:gd name="connsiteY51" fmla="*/ 1066247 h 1606916"/>
                <a:gd name="connsiteX52" fmla="*/ 364693 w 1858037"/>
                <a:gd name="connsiteY52" fmla="*/ 922189 h 1606916"/>
                <a:gd name="connsiteX53" fmla="*/ 368510 w 1858037"/>
                <a:gd name="connsiteY53" fmla="*/ 887765 h 1606916"/>
                <a:gd name="connsiteX54" fmla="*/ 373064 w 1858037"/>
                <a:gd name="connsiteY54" fmla="*/ 884282 h 1606916"/>
                <a:gd name="connsiteX55" fmla="*/ 704110 w 1858037"/>
                <a:gd name="connsiteY55" fmla="*/ 888367 h 1606916"/>
                <a:gd name="connsiteX56" fmla="*/ 713955 w 1858037"/>
                <a:gd name="connsiteY56" fmla="*/ 878723 h 1606916"/>
                <a:gd name="connsiteX57" fmla="*/ 713955 w 1858037"/>
                <a:gd name="connsiteY57" fmla="*/ 610498 h 1606916"/>
                <a:gd name="connsiteX58" fmla="*/ 722955 w 1858037"/>
                <a:gd name="connsiteY58" fmla="*/ 601467 h 1606916"/>
                <a:gd name="connsiteX59" fmla="*/ 725072 w 1858037"/>
                <a:gd name="connsiteY59" fmla="*/ 601725 h 1606916"/>
                <a:gd name="connsiteX60" fmla="*/ 816289 w 1858037"/>
                <a:gd name="connsiteY60" fmla="*/ 616793 h 1606916"/>
                <a:gd name="connsiteX61" fmla="*/ 990619 w 1858037"/>
                <a:gd name="connsiteY61" fmla="*/ 628714 h 1606916"/>
                <a:gd name="connsiteX62" fmla="*/ 1097574 w 1858037"/>
                <a:gd name="connsiteY62" fmla="*/ 637086 h 1606916"/>
                <a:gd name="connsiteX63" fmla="*/ 1100521 w 1858037"/>
                <a:gd name="connsiteY63" fmla="*/ 634206 h 1606916"/>
                <a:gd name="connsiteX64" fmla="*/ 1098981 w 1858037"/>
                <a:gd name="connsiteY64" fmla="*/ 381987 h 1606916"/>
                <a:gd name="connsiteX65" fmla="*/ 1105075 w 1858037"/>
                <a:gd name="connsiteY65" fmla="*/ 375625 h 1606916"/>
                <a:gd name="connsiteX66" fmla="*/ 1425138 w 1858037"/>
                <a:gd name="connsiteY66" fmla="*/ 360288 h 1606916"/>
                <a:gd name="connsiteX67" fmla="*/ 1427013 w 1858037"/>
                <a:gd name="connsiteY67" fmla="*/ 358346 h 1606916"/>
                <a:gd name="connsiteX68" fmla="*/ 1418708 w 1858037"/>
                <a:gd name="connsiteY68" fmla="*/ 11963 h 1606916"/>
                <a:gd name="connsiteX69" fmla="*/ 1429156 w 1858037"/>
                <a:gd name="connsiteY69" fmla="*/ 243 h 1606916"/>
                <a:gd name="connsiteX70" fmla="*/ 1448913 w 1858037"/>
                <a:gd name="connsiteY70" fmla="*/ 2386 h 1606916"/>
                <a:gd name="connsiteX71" fmla="*/ 1593373 w 1858037"/>
                <a:gd name="connsiteY71" fmla="*/ 53151 h 1606916"/>
                <a:gd name="connsiteX72" fmla="*/ 1686867 w 1858037"/>
                <a:gd name="connsiteY72" fmla="*/ 78936 h 1606916"/>
                <a:gd name="connsiteX73" fmla="*/ 1844119 w 1858037"/>
                <a:gd name="connsiteY73" fmla="*/ 106060 h 1606916"/>
                <a:gd name="connsiteX74" fmla="*/ 1857245 w 1858037"/>
                <a:gd name="connsiteY74" fmla="*/ 122267 h 1606916"/>
                <a:gd name="connsiteX75" fmla="*/ 1856643 w 1858037"/>
                <a:gd name="connsiteY75" fmla="*/ 382858 h 1606916"/>
                <a:gd name="connsiteX76" fmla="*/ 1857915 w 1858037"/>
                <a:gd name="connsiteY76" fmla="*/ 776523 h 1606916"/>
                <a:gd name="connsiteX77" fmla="*/ 1856174 w 1858037"/>
                <a:gd name="connsiteY77" fmla="*/ 948978 h 1606916"/>
                <a:gd name="connsiteX78" fmla="*/ 1855437 w 1858037"/>
                <a:gd name="connsiteY78" fmla="*/ 1564925 h 1606916"/>
                <a:gd name="connsiteX79" fmla="*/ 1835010 w 1858037"/>
                <a:gd name="connsiteY79" fmla="*/ 1601827 h 1606916"/>
                <a:gd name="connsiteX80" fmla="*/ 1798041 w 1858037"/>
                <a:gd name="connsiteY80" fmla="*/ 1606180 h 1606916"/>
                <a:gd name="connsiteX81" fmla="*/ 1490034 w 1858037"/>
                <a:gd name="connsiteY81" fmla="*/ 1605979 h 1606916"/>
                <a:gd name="connsiteX82" fmla="*/ 1737498 w 1858037"/>
                <a:gd name="connsiteY82" fmla="*/ 1430913 h 1606916"/>
                <a:gd name="connsiteX83" fmla="*/ 1737498 w 1858037"/>
                <a:gd name="connsiteY83" fmla="*/ 1542020 h 1606916"/>
                <a:gd name="connsiteX84" fmla="*/ 1745133 w 1858037"/>
                <a:gd name="connsiteY84" fmla="*/ 1550124 h 1606916"/>
                <a:gd name="connsiteX85" fmla="*/ 1782370 w 1858037"/>
                <a:gd name="connsiteY85" fmla="*/ 1552267 h 1606916"/>
                <a:gd name="connsiteX86" fmla="*/ 1788799 w 1858037"/>
                <a:gd name="connsiteY86" fmla="*/ 1546173 h 1606916"/>
                <a:gd name="connsiteX87" fmla="*/ 1788799 w 1858037"/>
                <a:gd name="connsiteY87" fmla="*/ 168411 h 1606916"/>
                <a:gd name="connsiteX88" fmla="*/ 1785451 w 1858037"/>
                <a:gd name="connsiteY88" fmla="*/ 164728 h 1606916"/>
                <a:gd name="connsiteX89" fmla="*/ 1675415 w 1858037"/>
                <a:gd name="connsiteY89" fmla="*/ 145574 h 1606916"/>
                <a:gd name="connsiteX90" fmla="*/ 1499075 w 1858037"/>
                <a:gd name="connsiteY90" fmla="*/ 86303 h 1606916"/>
                <a:gd name="connsiteX91" fmla="*/ 1493967 w 1858037"/>
                <a:gd name="connsiteY91" fmla="*/ 89001 h 1606916"/>
                <a:gd name="connsiteX92" fmla="*/ 1493785 w 1858037"/>
                <a:gd name="connsiteY92" fmla="*/ 90187 h 1606916"/>
                <a:gd name="connsiteX93" fmla="*/ 1497334 w 1858037"/>
                <a:gd name="connsiteY93" fmla="*/ 282600 h 1606916"/>
                <a:gd name="connsiteX94" fmla="*/ 1505840 w 1858037"/>
                <a:gd name="connsiteY94" fmla="*/ 403151 h 1606916"/>
                <a:gd name="connsiteX95" fmla="*/ 1506576 w 1858037"/>
                <a:gd name="connsiteY95" fmla="*/ 502538 h 1606916"/>
                <a:gd name="connsiteX96" fmla="*/ 1507045 w 1858037"/>
                <a:gd name="connsiteY96" fmla="*/ 601858 h 1606916"/>
                <a:gd name="connsiteX97" fmla="*/ 1506643 w 1858037"/>
                <a:gd name="connsiteY97" fmla="*/ 810143 h 1606916"/>
                <a:gd name="connsiteX98" fmla="*/ 1507447 w 1858037"/>
                <a:gd name="connsiteY98" fmla="*/ 1131411 h 1606916"/>
                <a:gd name="connsiteX99" fmla="*/ 1506040 w 1858037"/>
                <a:gd name="connsiteY99" fmla="*/ 1519920 h 1606916"/>
                <a:gd name="connsiteX100" fmla="*/ 1507782 w 1858037"/>
                <a:gd name="connsiteY100" fmla="*/ 1541016 h 1606916"/>
                <a:gd name="connsiteX101" fmla="*/ 1515283 w 1858037"/>
                <a:gd name="connsiteY101" fmla="*/ 1547445 h 1606916"/>
                <a:gd name="connsiteX102" fmla="*/ 1563101 w 1858037"/>
                <a:gd name="connsiteY102" fmla="*/ 1547178 h 1606916"/>
                <a:gd name="connsiteX103" fmla="*/ 1566919 w 1858037"/>
                <a:gd name="connsiteY103" fmla="*/ 1543092 h 1606916"/>
                <a:gd name="connsiteX104" fmla="*/ 1561695 w 1858037"/>
                <a:gd name="connsiteY104" fmla="*/ 1433123 h 1606916"/>
                <a:gd name="connsiteX105" fmla="*/ 1565780 w 1858037"/>
                <a:gd name="connsiteY105" fmla="*/ 1428703 h 1606916"/>
                <a:gd name="connsiteX106" fmla="*/ 1734551 w 1858037"/>
                <a:gd name="connsiteY106" fmla="*/ 1427631 h 1606916"/>
                <a:gd name="connsiteX107" fmla="*/ 1737498 w 1858037"/>
                <a:gd name="connsiteY107" fmla="*/ 1430913 h 1606916"/>
                <a:gd name="connsiteX108" fmla="*/ 360540 w 1858037"/>
                <a:gd name="connsiteY108" fmla="*/ 1257387 h 1606916"/>
                <a:gd name="connsiteX109" fmla="*/ 360875 w 1858037"/>
                <a:gd name="connsiteY109" fmla="*/ 1250355 h 1606916"/>
                <a:gd name="connsiteX110" fmla="*/ 365764 w 1858037"/>
                <a:gd name="connsiteY110" fmla="*/ 1137841 h 1606916"/>
                <a:gd name="connsiteX111" fmla="*/ 363018 w 1858037"/>
                <a:gd name="connsiteY111" fmla="*/ 1135296 h 1606916"/>
                <a:gd name="connsiteX112" fmla="*/ 171677 w 1858037"/>
                <a:gd name="connsiteY112" fmla="*/ 1163491 h 1606916"/>
                <a:gd name="connsiteX113" fmla="*/ 77380 w 1858037"/>
                <a:gd name="connsiteY113" fmla="*/ 1170456 h 1606916"/>
                <a:gd name="connsiteX114" fmla="*/ 73495 w 1858037"/>
                <a:gd name="connsiteY114" fmla="*/ 1174207 h 1606916"/>
                <a:gd name="connsiteX115" fmla="*/ 69343 w 1858037"/>
                <a:gd name="connsiteY115" fmla="*/ 1541016 h 1606916"/>
                <a:gd name="connsiteX116" fmla="*/ 77380 w 1858037"/>
                <a:gd name="connsiteY116" fmla="*/ 1549120 h 1606916"/>
                <a:gd name="connsiteX117" fmla="*/ 122385 w 1858037"/>
                <a:gd name="connsiteY117" fmla="*/ 1549120 h 1606916"/>
                <a:gd name="connsiteX118" fmla="*/ 125667 w 1858037"/>
                <a:gd name="connsiteY118" fmla="*/ 1545637 h 1606916"/>
                <a:gd name="connsiteX119" fmla="*/ 122051 w 1858037"/>
                <a:gd name="connsiteY119" fmla="*/ 1470159 h 1606916"/>
                <a:gd name="connsiteX120" fmla="*/ 132431 w 1858037"/>
                <a:gd name="connsiteY120" fmla="*/ 1458372 h 1606916"/>
                <a:gd name="connsiteX121" fmla="*/ 297251 w 1858037"/>
                <a:gd name="connsiteY121" fmla="*/ 1460180 h 1606916"/>
                <a:gd name="connsiteX122" fmla="*/ 313325 w 1858037"/>
                <a:gd name="connsiteY122" fmla="*/ 1479602 h 1606916"/>
                <a:gd name="connsiteX123" fmla="*/ 312320 w 1858037"/>
                <a:gd name="connsiteY123" fmla="*/ 1539208 h 1606916"/>
                <a:gd name="connsiteX124" fmla="*/ 319687 w 1858037"/>
                <a:gd name="connsiteY124" fmla="*/ 1546642 h 1606916"/>
                <a:gd name="connsiteX125" fmla="*/ 354580 w 1858037"/>
                <a:gd name="connsiteY125" fmla="*/ 1546642 h 1606916"/>
                <a:gd name="connsiteX126" fmla="*/ 361009 w 1858037"/>
                <a:gd name="connsiteY126" fmla="*/ 1540212 h 1606916"/>
                <a:gd name="connsiteX127" fmla="*/ 360540 w 1858037"/>
                <a:gd name="connsiteY127" fmla="*/ 1257387 h 1606916"/>
                <a:gd name="connsiteX128" fmla="*/ 1680236 w 1858037"/>
                <a:gd name="connsiteY128" fmla="*/ 1540078 h 1606916"/>
                <a:gd name="connsiteX129" fmla="*/ 1679433 w 1858037"/>
                <a:gd name="connsiteY129" fmla="*/ 1482080 h 1606916"/>
                <a:gd name="connsiteX130" fmla="*/ 1672402 w 1858037"/>
                <a:gd name="connsiteY130" fmla="*/ 1475181 h 1606916"/>
                <a:gd name="connsiteX131" fmla="*/ 1672334 w 1858037"/>
                <a:gd name="connsiteY131" fmla="*/ 1475181 h 1606916"/>
                <a:gd name="connsiteX132" fmla="*/ 1637374 w 1858037"/>
                <a:gd name="connsiteY132" fmla="*/ 1475718 h 1606916"/>
                <a:gd name="connsiteX133" fmla="*/ 1620363 w 1858037"/>
                <a:gd name="connsiteY133" fmla="*/ 1491188 h 1606916"/>
                <a:gd name="connsiteX134" fmla="*/ 1620899 w 1858037"/>
                <a:gd name="connsiteY134" fmla="*/ 1532578 h 1606916"/>
                <a:gd name="connsiteX135" fmla="*/ 1638275 w 1858037"/>
                <a:gd name="connsiteY135" fmla="*/ 1547648 h 1606916"/>
                <a:gd name="connsiteX136" fmla="*/ 1638378 w 1858037"/>
                <a:gd name="connsiteY136" fmla="*/ 1547646 h 1606916"/>
                <a:gd name="connsiteX137" fmla="*/ 1673338 w 1858037"/>
                <a:gd name="connsiteY137" fmla="*/ 1547110 h 1606916"/>
                <a:gd name="connsiteX138" fmla="*/ 1680237 w 1858037"/>
                <a:gd name="connsiteY138" fmla="*/ 1540079 h 1606916"/>
                <a:gd name="connsiteX139" fmla="*/ 1680237 w 1858037"/>
                <a:gd name="connsiteY139" fmla="*/ 1540078 h 1606916"/>
                <a:gd name="connsiteX140" fmla="*/ 185407 w 1858037"/>
                <a:gd name="connsiteY140" fmla="*/ 1548718 h 1606916"/>
                <a:gd name="connsiteX141" fmla="*/ 190965 w 1858037"/>
                <a:gd name="connsiteY141" fmla="*/ 1569747 h 1606916"/>
                <a:gd name="connsiteX142" fmla="*/ 203690 w 1858037"/>
                <a:gd name="connsiteY142" fmla="*/ 1579057 h 1606916"/>
                <a:gd name="connsiteX143" fmla="*/ 254188 w 1858037"/>
                <a:gd name="connsiteY143" fmla="*/ 1576645 h 1606916"/>
                <a:gd name="connsiteX144" fmla="*/ 257077 w 1858037"/>
                <a:gd name="connsiteY144" fmla="*/ 1573512 h 1606916"/>
                <a:gd name="connsiteX145" fmla="*/ 257067 w 1858037"/>
                <a:gd name="connsiteY145" fmla="*/ 1573364 h 1606916"/>
                <a:gd name="connsiteX146" fmla="*/ 254188 w 1858037"/>
                <a:gd name="connsiteY146" fmla="*/ 1538739 h 1606916"/>
                <a:gd name="connsiteX147" fmla="*/ 251844 w 1858037"/>
                <a:gd name="connsiteY147" fmla="*/ 1509137 h 1606916"/>
                <a:gd name="connsiteX148" fmla="*/ 248763 w 1858037"/>
                <a:gd name="connsiteY148" fmla="*/ 1504717 h 1606916"/>
                <a:gd name="connsiteX149" fmla="*/ 190162 w 1858037"/>
                <a:gd name="connsiteY149" fmla="*/ 1501703 h 1606916"/>
                <a:gd name="connsiteX150" fmla="*/ 179312 w 1858037"/>
                <a:gd name="connsiteY150" fmla="*/ 1514160 h 1606916"/>
                <a:gd name="connsiteX151" fmla="*/ 185407 w 1858037"/>
                <a:gd name="connsiteY151" fmla="*/ 1548718 h 160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1858037" h="1606916">
                  <a:moveTo>
                    <a:pt x="1490034" y="1605979"/>
                  </a:moveTo>
                  <a:cubicBezTo>
                    <a:pt x="1468424" y="1584325"/>
                    <a:pt x="1451190" y="1561912"/>
                    <a:pt x="1438331" y="1538739"/>
                  </a:cubicBezTo>
                  <a:cubicBezTo>
                    <a:pt x="1440921" y="1447388"/>
                    <a:pt x="1442260" y="1380840"/>
                    <a:pt x="1442349" y="1339093"/>
                  </a:cubicBezTo>
                  <a:cubicBezTo>
                    <a:pt x="1442618" y="1228142"/>
                    <a:pt x="1441881" y="1084128"/>
                    <a:pt x="1440140" y="907053"/>
                  </a:cubicBezTo>
                  <a:cubicBezTo>
                    <a:pt x="1438532" y="741965"/>
                    <a:pt x="1440608" y="560134"/>
                    <a:pt x="1439938" y="437373"/>
                  </a:cubicBezTo>
                  <a:cubicBezTo>
                    <a:pt x="1439938" y="435097"/>
                    <a:pt x="1438800" y="433980"/>
                    <a:pt x="1436523" y="434025"/>
                  </a:cubicBezTo>
                  <a:lnTo>
                    <a:pt x="1171512" y="435565"/>
                  </a:lnTo>
                  <a:cubicBezTo>
                    <a:pt x="1168804" y="435597"/>
                    <a:pt x="1166596" y="437717"/>
                    <a:pt x="1166489" y="440387"/>
                  </a:cubicBezTo>
                  <a:cubicBezTo>
                    <a:pt x="1162515" y="528077"/>
                    <a:pt x="1160729" y="627330"/>
                    <a:pt x="1161131" y="738148"/>
                  </a:cubicBezTo>
                  <a:cubicBezTo>
                    <a:pt x="1161310" y="782618"/>
                    <a:pt x="1161087" y="827199"/>
                    <a:pt x="1160462" y="871892"/>
                  </a:cubicBezTo>
                  <a:cubicBezTo>
                    <a:pt x="1159435" y="952482"/>
                    <a:pt x="1158966" y="1046825"/>
                    <a:pt x="1159055" y="1154919"/>
                  </a:cubicBezTo>
                  <a:cubicBezTo>
                    <a:pt x="1159145" y="1253190"/>
                    <a:pt x="1157939" y="1383452"/>
                    <a:pt x="1155439" y="1545704"/>
                  </a:cubicBezTo>
                  <a:cubicBezTo>
                    <a:pt x="1153787" y="1554098"/>
                    <a:pt x="1150014" y="1562157"/>
                    <a:pt x="1144120" y="1569881"/>
                  </a:cubicBezTo>
                  <a:cubicBezTo>
                    <a:pt x="1142736" y="1571667"/>
                    <a:pt x="1140928" y="1572493"/>
                    <a:pt x="1138696" y="1572359"/>
                  </a:cubicBezTo>
                  <a:cubicBezTo>
                    <a:pt x="1118068" y="1571020"/>
                    <a:pt x="1102798" y="1563184"/>
                    <a:pt x="1092886" y="1548852"/>
                  </a:cubicBezTo>
                  <a:cubicBezTo>
                    <a:pt x="1093601" y="1507954"/>
                    <a:pt x="1094203" y="1467301"/>
                    <a:pt x="1094695" y="1426894"/>
                  </a:cubicBezTo>
                  <a:cubicBezTo>
                    <a:pt x="1095297" y="1371508"/>
                    <a:pt x="1091078" y="1277278"/>
                    <a:pt x="1094427" y="1205148"/>
                  </a:cubicBezTo>
                  <a:cubicBezTo>
                    <a:pt x="1098110" y="1125384"/>
                    <a:pt x="1094560" y="1044681"/>
                    <a:pt x="1096771" y="974226"/>
                  </a:cubicBezTo>
                  <a:cubicBezTo>
                    <a:pt x="1099717" y="879996"/>
                    <a:pt x="1097374" y="818582"/>
                    <a:pt x="1096503" y="709082"/>
                  </a:cubicBezTo>
                  <a:cubicBezTo>
                    <a:pt x="1096472" y="706730"/>
                    <a:pt x="1094631" y="704802"/>
                    <a:pt x="1092284" y="704662"/>
                  </a:cubicBezTo>
                  <a:lnTo>
                    <a:pt x="785080" y="686981"/>
                  </a:lnTo>
                  <a:cubicBezTo>
                    <a:pt x="780124" y="686668"/>
                    <a:pt x="777557" y="689012"/>
                    <a:pt x="777378" y="694013"/>
                  </a:cubicBezTo>
                  <a:cubicBezTo>
                    <a:pt x="775056" y="764513"/>
                    <a:pt x="776128" y="835571"/>
                    <a:pt x="780593" y="907187"/>
                  </a:cubicBezTo>
                  <a:cubicBezTo>
                    <a:pt x="782267" y="933440"/>
                    <a:pt x="781263" y="960698"/>
                    <a:pt x="781396" y="987487"/>
                  </a:cubicBezTo>
                  <a:cubicBezTo>
                    <a:pt x="782111" y="1173359"/>
                    <a:pt x="782155" y="1359163"/>
                    <a:pt x="781530" y="1544900"/>
                  </a:cubicBezTo>
                  <a:lnTo>
                    <a:pt x="786821" y="1589705"/>
                  </a:lnTo>
                  <a:cubicBezTo>
                    <a:pt x="787312" y="1593634"/>
                    <a:pt x="785571" y="1595844"/>
                    <a:pt x="781597" y="1596335"/>
                  </a:cubicBezTo>
                  <a:lnTo>
                    <a:pt x="733913" y="1601827"/>
                  </a:lnTo>
                  <a:cubicBezTo>
                    <a:pt x="729895" y="1602318"/>
                    <a:pt x="727595" y="1600555"/>
                    <a:pt x="727014" y="1596536"/>
                  </a:cubicBezTo>
                  <a:lnTo>
                    <a:pt x="718978" y="1540346"/>
                  </a:lnTo>
                  <a:lnTo>
                    <a:pt x="718040" y="960430"/>
                  </a:lnTo>
                  <a:cubicBezTo>
                    <a:pt x="718041" y="957212"/>
                    <a:pt x="715432" y="954603"/>
                    <a:pt x="712214" y="954603"/>
                  </a:cubicBezTo>
                  <a:cubicBezTo>
                    <a:pt x="712192" y="954603"/>
                    <a:pt x="712169" y="954603"/>
                    <a:pt x="712147" y="954604"/>
                  </a:cubicBezTo>
                  <a:lnTo>
                    <a:pt x="442649" y="956211"/>
                  </a:lnTo>
                  <a:cubicBezTo>
                    <a:pt x="438941" y="956208"/>
                    <a:pt x="435895" y="959136"/>
                    <a:pt x="435750" y="962841"/>
                  </a:cubicBezTo>
                  <a:cubicBezTo>
                    <a:pt x="431598" y="1056603"/>
                    <a:pt x="436487" y="1142931"/>
                    <a:pt x="432469" y="1238032"/>
                  </a:cubicBezTo>
                  <a:cubicBezTo>
                    <a:pt x="429388" y="1309492"/>
                    <a:pt x="432871" y="1395551"/>
                    <a:pt x="431397" y="1477258"/>
                  </a:cubicBezTo>
                  <a:cubicBezTo>
                    <a:pt x="430996" y="1500431"/>
                    <a:pt x="431286" y="1523402"/>
                    <a:pt x="432268" y="1546173"/>
                  </a:cubicBezTo>
                  <a:cubicBezTo>
                    <a:pt x="431688" y="1551843"/>
                    <a:pt x="429031" y="1557781"/>
                    <a:pt x="424298" y="1563988"/>
                  </a:cubicBezTo>
                  <a:cubicBezTo>
                    <a:pt x="420057" y="1569569"/>
                    <a:pt x="420324" y="1576779"/>
                    <a:pt x="425102" y="1585620"/>
                  </a:cubicBezTo>
                  <a:cubicBezTo>
                    <a:pt x="426173" y="1587629"/>
                    <a:pt x="427848" y="1588723"/>
                    <a:pt x="430125" y="1588901"/>
                  </a:cubicBezTo>
                  <a:cubicBezTo>
                    <a:pt x="450484" y="1590375"/>
                    <a:pt x="462607" y="1591045"/>
                    <a:pt x="466491" y="1590910"/>
                  </a:cubicBezTo>
                  <a:cubicBezTo>
                    <a:pt x="525204" y="1589393"/>
                    <a:pt x="577844" y="1591201"/>
                    <a:pt x="624412" y="1596335"/>
                  </a:cubicBezTo>
                  <a:cubicBezTo>
                    <a:pt x="632092" y="1597228"/>
                    <a:pt x="641178" y="1599729"/>
                    <a:pt x="651670" y="1603837"/>
                  </a:cubicBezTo>
                  <a:lnTo>
                    <a:pt x="82537" y="1606917"/>
                  </a:lnTo>
                  <a:cubicBezTo>
                    <a:pt x="69231" y="1604015"/>
                    <a:pt x="55614" y="1603859"/>
                    <a:pt x="41684" y="1606448"/>
                  </a:cubicBezTo>
                  <a:cubicBezTo>
                    <a:pt x="1969" y="1608591"/>
                    <a:pt x="-308" y="1567403"/>
                    <a:pt x="26" y="1535256"/>
                  </a:cubicBezTo>
                  <a:cubicBezTo>
                    <a:pt x="1589" y="1370861"/>
                    <a:pt x="2259" y="1232852"/>
                    <a:pt x="2035" y="1121231"/>
                  </a:cubicBezTo>
                  <a:cubicBezTo>
                    <a:pt x="1991" y="1112659"/>
                    <a:pt x="6233" y="1108060"/>
                    <a:pt x="14760" y="1107435"/>
                  </a:cubicBezTo>
                  <a:cubicBezTo>
                    <a:pt x="58226" y="1104086"/>
                    <a:pt x="94993" y="1100135"/>
                    <a:pt x="147433" y="1091562"/>
                  </a:cubicBezTo>
                  <a:cubicBezTo>
                    <a:pt x="220567" y="1079596"/>
                    <a:pt x="293277" y="1072319"/>
                    <a:pt x="365563" y="1069730"/>
                  </a:cubicBezTo>
                  <a:cubicBezTo>
                    <a:pt x="367795" y="1069640"/>
                    <a:pt x="368822" y="1068479"/>
                    <a:pt x="368644" y="1066247"/>
                  </a:cubicBezTo>
                  <a:cubicBezTo>
                    <a:pt x="366010" y="1032984"/>
                    <a:pt x="364693" y="984964"/>
                    <a:pt x="364693" y="922189"/>
                  </a:cubicBezTo>
                  <a:cubicBezTo>
                    <a:pt x="364693" y="909017"/>
                    <a:pt x="365965" y="897543"/>
                    <a:pt x="368510" y="887765"/>
                  </a:cubicBezTo>
                  <a:cubicBezTo>
                    <a:pt x="369135" y="885443"/>
                    <a:pt x="370653" y="884282"/>
                    <a:pt x="373064" y="884282"/>
                  </a:cubicBezTo>
                  <a:lnTo>
                    <a:pt x="704110" y="888367"/>
                  </a:lnTo>
                  <a:cubicBezTo>
                    <a:pt x="710673" y="888457"/>
                    <a:pt x="713955" y="885242"/>
                    <a:pt x="713955" y="878723"/>
                  </a:cubicBezTo>
                  <a:lnTo>
                    <a:pt x="713955" y="610498"/>
                  </a:lnTo>
                  <a:cubicBezTo>
                    <a:pt x="713969" y="605505"/>
                    <a:pt x="717999" y="601462"/>
                    <a:pt x="722955" y="601467"/>
                  </a:cubicBezTo>
                  <a:cubicBezTo>
                    <a:pt x="723669" y="601468"/>
                    <a:pt x="724380" y="601554"/>
                    <a:pt x="725072" y="601725"/>
                  </a:cubicBezTo>
                  <a:cubicBezTo>
                    <a:pt x="756058" y="609136"/>
                    <a:pt x="786464" y="614159"/>
                    <a:pt x="816289" y="616793"/>
                  </a:cubicBezTo>
                  <a:cubicBezTo>
                    <a:pt x="858035" y="620499"/>
                    <a:pt x="916146" y="624473"/>
                    <a:pt x="990619" y="628714"/>
                  </a:cubicBezTo>
                  <a:cubicBezTo>
                    <a:pt x="1019484" y="630389"/>
                    <a:pt x="1064222" y="636684"/>
                    <a:pt x="1097574" y="637086"/>
                  </a:cubicBezTo>
                  <a:cubicBezTo>
                    <a:pt x="1099539" y="637131"/>
                    <a:pt x="1100521" y="636171"/>
                    <a:pt x="1100521" y="634206"/>
                  </a:cubicBezTo>
                  <a:lnTo>
                    <a:pt x="1098981" y="381987"/>
                  </a:lnTo>
                  <a:cubicBezTo>
                    <a:pt x="1098943" y="378587"/>
                    <a:pt x="1101642" y="375770"/>
                    <a:pt x="1105075" y="375625"/>
                  </a:cubicBezTo>
                  <a:lnTo>
                    <a:pt x="1425138" y="360288"/>
                  </a:lnTo>
                  <a:cubicBezTo>
                    <a:pt x="1426432" y="360243"/>
                    <a:pt x="1427057" y="359596"/>
                    <a:pt x="1427013" y="358346"/>
                  </a:cubicBezTo>
                  <a:lnTo>
                    <a:pt x="1418708" y="11963"/>
                  </a:lnTo>
                  <a:cubicBezTo>
                    <a:pt x="1418609" y="5909"/>
                    <a:pt x="1423162" y="802"/>
                    <a:pt x="1429156" y="243"/>
                  </a:cubicBezTo>
                  <a:cubicBezTo>
                    <a:pt x="1436344" y="-427"/>
                    <a:pt x="1442930" y="288"/>
                    <a:pt x="1448913" y="2386"/>
                  </a:cubicBezTo>
                  <a:cubicBezTo>
                    <a:pt x="1520261" y="27434"/>
                    <a:pt x="1568414" y="44356"/>
                    <a:pt x="1593373" y="53151"/>
                  </a:cubicBezTo>
                  <a:cubicBezTo>
                    <a:pt x="1628868" y="65698"/>
                    <a:pt x="1660033" y="74292"/>
                    <a:pt x="1686867" y="78936"/>
                  </a:cubicBezTo>
                  <a:cubicBezTo>
                    <a:pt x="1734886" y="87374"/>
                    <a:pt x="1791545" y="93737"/>
                    <a:pt x="1844119" y="106060"/>
                  </a:cubicBezTo>
                  <a:cubicBezTo>
                    <a:pt x="1852691" y="108069"/>
                    <a:pt x="1857066" y="113471"/>
                    <a:pt x="1857245" y="122267"/>
                  </a:cubicBezTo>
                  <a:cubicBezTo>
                    <a:pt x="1858719" y="202902"/>
                    <a:pt x="1856174" y="289431"/>
                    <a:pt x="1856643" y="382858"/>
                  </a:cubicBezTo>
                  <a:cubicBezTo>
                    <a:pt x="1857848" y="620164"/>
                    <a:pt x="1858272" y="751386"/>
                    <a:pt x="1857915" y="776523"/>
                  </a:cubicBezTo>
                  <a:cubicBezTo>
                    <a:pt x="1856754" y="854703"/>
                    <a:pt x="1856174" y="912187"/>
                    <a:pt x="1856174" y="948978"/>
                  </a:cubicBezTo>
                  <a:cubicBezTo>
                    <a:pt x="1856040" y="1285091"/>
                    <a:pt x="1855794" y="1490407"/>
                    <a:pt x="1855437" y="1564925"/>
                  </a:cubicBezTo>
                  <a:cubicBezTo>
                    <a:pt x="1855348" y="1583275"/>
                    <a:pt x="1848539" y="1595577"/>
                    <a:pt x="1835010" y="1601827"/>
                  </a:cubicBezTo>
                  <a:cubicBezTo>
                    <a:pt x="1828491" y="1604818"/>
                    <a:pt x="1816169" y="1606270"/>
                    <a:pt x="1798041" y="1606180"/>
                  </a:cubicBezTo>
                  <a:cubicBezTo>
                    <a:pt x="1695618" y="1605600"/>
                    <a:pt x="1592949" y="1605533"/>
                    <a:pt x="1490034" y="1605979"/>
                  </a:cubicBezTo>
                  <a:close/>
                  <a:moveTo>
                    <a:pt x="1737498" y="1430913"/>
                  </a:moveTo>
                  <a:lnTo>
                    <a:pt x="1737498" y="1542020"/>
                  </a:lnTo>
                  <a:cubicBezTo>
                    <a:pt x="1737498" y="1547110"/>
                    <a:pt x="1740043" y="1549812"/>
                    <a:pt x="1745133" y="1550124"/>
                  </a:cubicBezTo>
                  <a:lnTo>
                    <a:pt x="1782370" y="1552267"/>
                  </a:lnTo>
                  <a:cubicBezTo>
                    <a:pt x="1786656" y="1552535"/>
                    <a:pt x="1788799" y="1550504"/>
                    <a:pt x="1788799" y="1546173"/>
                  </a:cubicBezTo>
                  <a:lnTo>
                    <a:pt x="1788799" y="168411"/>
                  </a:lnTo>
                  <a:cubicBezTo>
                    <a:pt x="1788799" y="166179"/>
                    <a:pt x="1787683" y="164951"/>
                    <a:pt x="1785451" y="164728"/>
                  </a:cubicBezTo>
                  <a:cubicBezTo>
                    <a:pt x="1748214" y="161245"/>
                    <a:pt x="1707227" y="156959"/>
                    <a:pt x="1675415" y="145574"/>
                  </a:cubicBezTo>
                  <a:cubicBezTo>
                    <a:pt x="1616545" y="124477"/>
                    <a:pt x="1556471" y="104319"/>
                    <a:pt x="1499075" y="86303"/>
                  </a:cubicBezTo>
                  <a:cubicBezTo>
                    <a:pt x="1496920" y="85637"/>
                    <a:pt x="1494632" y="86845"/>
                    <a:pt x="1493967" y="89001"/>
                  </a:cubicBezTo>
                  <a:cubicBezTo>
                    <a:pt x="1493848" y="89385"/>
                    <a:pt x="1493787" y="89785"/>
                    <a:pt x="1493785" y="90187"/>
                  </a:cubicBezTo>
                  <a:cubicBezTo>
                    <a:pt x="1493606" y="121218"/>
                    <a:pt x="1494789" y="185355"/>
                    <a:pt x="1497334" y="282600"/>
                  </a:cubicBezTo>
                  <a:cubicBezTo>
                    <a:pt x="1498361" y="322872"/>
                    <a:pt x="1501196" y="363056"/>
                    <a:pt x="1505840" y="403151"/>
                  </a:cubicBezTo>
                  <a:cubicBezTo>
                    <a:pt x="1507313" y="415920"/>
                    <a:pt x="1507559" y="449049"/>
                    <a:pt x="1506576" y="502538"/>
                  </a:cubicBezTo>
                  <a:cubicBezTo>
                    <a:pt x="1505951" y="534506"/>
                    <a:pt x="1506107" y="567613"/>
                    <a:pt x="1507045" y="601858"/>
                  </a:cubicBezTo>
                  <a:cubicBezTo>
                    <a:pt x="1508920" y="672850"/>
                    <a:pt x="1506175" y="749198"/>
                    <a:pt x="1506643" y="810143"/>
                  </a:cubicBezTo>
                  <a:cubicBezTo>
                    <a:pt x="1507648" y="930426"/>
                    <a:pt x="1506309" y="1024121"/>
                    <a:pt x="1507447" y="1131411"/>
                  </a:cubicBezTo>
                  <a:cubicBezTo>
                    <a:pt x="1508787" y="1253480"/>
                    <a:pt x="1508318" y="1382983"/>
                    <a:pt x="1506040" y="1519920"/>
                  </a:cubicBezTo>
                  <a:cubicBezTo>
                    <a:pt x="1505951" y="1525322"/>
                    <a:pt x="1506532" y="1532354"/>
                    <a:pt x="1507782" y="1541016"/>
                  </a:cubicBezTo>
                  <a:cubicBezTo>
                    <a:pt x="1508407" y="1545347"/>
                    <a:pt x="1510907" y="1547490"/>
                    <a:pt x="1515283" y="1547445"/>
                  </a:cubicBezTo>
                  <a:lnTo>
                    <a:pt x="1563101" y="1547178"/>
                  </a:lnTo>
                  <a:cubicBezTo>
                    <a:pt x="1565780" y="1547178"/>
                    <a:pt x="1567052" y="1545815"/>
                    <a:pt x="1566919" y="1543092"/>
                  </a:cubicBezTo>
                  <a:lnTo>
                    <a:pt x="1561695" y="1433123"/>
                  </a:lnTo>
                  <a:cubicBezTo>
                    <a:pt x="1561561" y="1430266"/>
                    <a:pt x="1562923" y="1428792"/>
                    <a:pt x="1565780" y="1428703"/>
                  </a:cubicBezTo>
                  <a:cubicBezTo>
                    <a:pt x="1613063" y="1427229"/>
                    <a:pt x="1675749" y="1420733"/>
                    <a:pt x="1734551" y="1427631"/>
                  </a:cubicBezTo>
                  <a:cubicBezTo>
                    <a:pt x="1736516" y="1427854"/>
                    <a:pt x="1737498" y="1428949"/>
                    <a:pt x="1737498" y="1430913"/>
                  </a:cubicBezTo>
                  <a:close/>
                  <a:moveTo>
                    <a:pt x="360540" y="1257387"/>
                  </a:moveTo>
                  <a:lnTo>
                    <a:pt x="360875" y="1250355"/>
                  </a:lnTo>
                  <a:lnTo>
                    <a:pt x="365764" y="1137841"/>
                  </a:lnTo>
                  <a:cubicBezTo>
                    <a:pt x="365808" y="1135965"/>
                    <a:pt x="364893" y="1135117"/>
                    <a:pt x="363018" y="1135296"/>
                  </a:cubicBezTo>
                  <a:cubicBezTo>
                    <a:pt x="298903" y="1141636"/>
                    <a:pt x="235123" y="1151034"/>
                    <a:pt x="171677" y="1163491"/>
                  </a:cubicBezTo>
                  <a:cubicBezTo>
                    <a:pt x="139731" y="1169786"/>
                    <a:pt x="116157" y="1169385"/>
                    <a:pt x="77380" y="1170456"/>
                  </a:cubicBezTo>
                  <a:cubicBezTo>
                    <a:pt x="75335" y="1170520"/>
                    <a:pt x="73663" y="1172134"/>
                    <a:pt x="73495" y="1174207"/>
                  </a:cubicBezTo>
                  <a:cubicBezTo>
                    <a:pt x="66731" y="1267968"/>
                    <a:pt x="69611" y="1355971"/>
                    <a:pt x="69343" y="1541016"/>
                  </a:cubicBezTo>
                  <a:cubicBezTo>
                    <a:pt x="69298" y="1546418"/>
                    <a:pt x="71977" y="1549120"/>
                    <a:pt x="77380" y="1549120"/>
                  </a:cubicBezTo>
                  <a:lnTo>
                    <a:pt x="122385" y="1549120"/>
                  </a:lnTo>
                  <a:cubicBezTo>
                    <a:pt x="124662" y="1549120"/>
                    <a:pt x="125756" y="1547959"/>
                    <a:pt x="125667" y="1545637"/>
                  </a:cubicBezTo>
                  <a:lnTo>
                    <a:pt x="122051" y="1470159"/>
                  </a:lnTo>
                  <a:cubicBezTo>
                    <a:pt x="121693" y="1462881"/>
                    <a:pt x="125154" y="1458952"/>
                    <a:pt x="132431" y="1458372"/>
                  </a:cubicBezTo>
                  <a:cubicBezTo>
                    <a:pt x="182705" y="1454354"/>
                    <a:pt x="237645" y="1454956"/>
                    <a:pt x="297251" y="1460180"/>
                  </a:cubicBezTo>
                  <a:cubicBezTo>
                    <a:pt x="308190" y="1461162"/>
                    <a:pt x="313548" y="1467636"/>
                    <a:pt x="313325" y="1479602"/>
                  </a:cubicBezTo>
                  <a:cubicBezTo>
                    <a:pt x="312700" y="1514919"/>
                    <a:pt x="312364" y="1534787"/>
                    <a:pt x="312320" y="1539208"/>
                  </a:cubicBezTo>
                  <a:cubicBezTo>
                    <a:pt x="312275" y="1544164"/>
                    <a:pt x="314731" y="1546642"/>
                    <a:pt x="319687" y="1546642"/>
                  </a:cubicBezTo>
                  <a:lnTo>
                    <a:pt x="354580" y="1546642"/>
                  </a:lnTo>
                  <a:cubicBezTo>
                    <a:pt x="358131" y="1546642"/>
                    <a:pt x="361009" y="1543763"/>
                    <a:pt x="361009" y="1540212"/>
                  </a:cubicBezTo>
                  <a:lnTo>
                    <a:pt x="360540" y="1257387"/>
                  </a:lnTo>
                  <a:close/>
                  <a:moveTo>
                    <a:pt x="1680236" y="1540078"/>
                  </a:moveTo>
                  <a:lnTo>
                    <a:pt x="1679433" y="1482080"/>
                  </a:lnTo>
                  <a:cubicBezTo>
                    <a:pt x="1679396" y="1478233"/>
                    <a:pt x="1676249" y="1475144"/>
                    <a:pt x="1672402" y="1475181"/>
                  </a:cubicBezTo>
                  <a:cubicBezTo>
                    <a:pt x="1672379" y="1475181"/>
                    <a:pt x="1672357" y="1475181"/>
                    <a:pt x="1672334" y="1475181"/>
                  </a:cubicBezTo>
                  <a:lnTo>
                    <a:pt x="1637374" y="1475718"/>
                  </a:lnTo>
                  <a:cubicBezTo>
                    <a:pt x="1627880" y="1475844"/>
                    <a:pt x="1620269" y="1482766"/>
                    <a:pt x="1620363" y="1491188"/>
                  </a:cubicBezTo>
                  <a:lnTo>
                    <a:pt x="1620899" y="1532578"/>
                  </a:lnTo>
                  <a:cubicBezTo>
                    <a:pt x="1620990" y="1541010"/>
                    <a:pt x="1628770" y="1547758"/>
                    <a:pt x="1638275" y="1547648"/>
                  </a:cubicBezTo>
                  <a:cubicBezTo>
                    <a:pt x="1638310" y="1547648"/>
                    <a:pt x="1638344" y="1547647"/>
                    <a:pt x="1638378" y="1547646"/>
                  </a:cubicBezTo>
                  <a:lnTo>
                    <a:pt x="1673338" y="1547110"/>
                  </a:lnTo>
                  <a:cubicBezTo>
                    <a:pt x="1677185" y="1547074"/>
                    <a:pt x="1680274" y="1543926"/>
                    <a:pt x="1680237" y="1540079"/>
                  </a:cubicBezTo>
                  <a:cubicBezTo>
                    <a:pt x="1680237" y="1540078"/>
                    <a:pt x="1680237" y="1540078"/>
                    <a:pt x="1680237" y="1540078"/>
                  </a:cubicBezTo>
                  <a:close/>
                  <a:moveTo>
                    <a:pt x="185407" y="1548718"/>
                  </a:moveTo>
                  <a:lnTo>
                    <a:pt x="190965" y="1569747"/>
                  </a:lnTo>
                  <a:cubicBezTo>
                    <a:pt x="192499" y="1575451"/>
                    <a:pt x="197790" y="1579322"/>
                    <a:pt x="203690" y="1579057"/>
                  </a:cubicBezTo>
                  <a:lnTo>
                    <a:pt x="254188" y="1576645"/>
                  </a:lnTo>
                  <a:cubicBezTo>
                    <a:pt x="255851" y="1576578"/>
                    <a:pt x="257144" y="1575175"/>
                    <a:pt x="257077" y="1573512"/>
                  </a:cubicBezTo>
                  <a:cubicBezTo>
                    <a:pt x="257075" y="1573463"/>
                    <a:pt x="257072" y="1573413"/>
                    <a:pt x="257067" y="1573364"/>
                  </a:cubicBezTo>
                  <a:lnTo>
                    <a:pt x="254188" y="1538739"/>
                  </a:lnTo>
                  <a:lnTo>
                    <a:pt x="251844" y="1509137"/>
                  </a:lnTo>
                  <a:cubicBezTo>
                    <a:pt x="251715" y="1507194"/>
                    <a:pt x="250527" y="1505490"/>
                    <a:pt x="248763" y="1504717"/>
                  </a:cubicBezTo>
                  <a:cubicBezTo>
                    <a:pt x="231819" y="1496948"/>
                    <a:pt x="206034" y="1499024"/>
                    <a:pt x="190162" y="1501703"/>
                  </a:cubicBezTo>
                  <a:cubicBezTo>
                    <a:pt x="184065" y="1502747"/>
                    <a:pt x="179536" y="1507948"/>
                    <a:pt x="179312" y="1514160"/>
                  </a:cubicBezTo>
                  <a:cubicBezTo>
                    <a:pt x="178776" y="1526885"/>
                    <a:pt x="180808" y="1538404"/>
                    <a:pt x="185407" y="1548718"/>
                  </a:cubicBezTo>
                  <a:close/>
                </a:path>
              </a:pathLst>
            </a:custGeom>
            <a:grpFill/>
            <a:ln w="6697" cap="flat">
              <a:noFill/>
              <a:prstDash val="solid"/>
              <a:miter/>
            </a:ln>
          </p:spPr>
          <p:txBody>
            <a:bodyPr rtlCol="0" anchor="ctr"/>
            <a:lstStyle/>
            <a:p>
              <a:endParaRPr lang="fr-FR"/>
            </a:p>
          </p:txBody>
        </p:sp>
        <p:sp>
          <p:nvSpPr>
            <p:cNvPr id="34" name="Free-form: Shape 249">
              <a:extLst>
                <a:ext uri="{FF2B5EF4-FFF2-40B4-BE49-F238E27FC236}">
                  <a16:creationId xmlns:a16="http://schemas.microsoft.com/office/drawing/2014/main" id="{7AFCE568-5E87-BDDA-5947-472D57894539}"/>
                </a:ext>
              </a:extLst>
            </p:cNvPr>
            <p:cNvSpPr/>
            <p:nvPr/>
          </p:nvSpPr>
          <p:spPr>
            <a:xfrm>
              <a:off x="8789875" y="1260218"/>
              <a:ext cx="61051" cy="70283"/>
            </a:xfrm>
            <a:custGeom>
              <a:avLst/>
              <a:gdLst>
                <a:gd name="connsiteX0" fmla="*/ 151296 w 180696"/>
                <a:gd name="connsiteY0" fmla="*/ 5561 h 208019"/>
                <a:gd name="connsiteX1" fmla="*/ 172459 w 180696"/>
                <a:gd name="connsiteY1" fmla="*/ 9914 h 208019"/>
                <a:gd name="connsiteX2" fmla="*/ 180696 w 180696"/>
                <a:gd name="connsiteY2" fmla="*/ 21300 h 208019"/>
                <a:gd name="connsiteX3" fmla="*/ 180697 w 180696"/>
                <a:gd name="connsiteY3" fmla="*/ 201858 h 208019"/>
                <a:gd name="connsiteX4" fmla="*/ 174535 w 180696"/>
                <a:gd name="connsiteY4" fmla="*/ 208020 h 208019"/>
                <a:gd name="connsiteX5" fmla="*/ 11189 w 180696"/>
                <a:gd name="connsiteY5" fmla="*/ 208020 h 208019"/>
                <a:gd name="connsiteX6" fmla="*/ 4559 w 180696"/>
                <a:gd name="connsiteY6" fmla="*/ 201523 h 208019"/>
                <a:gd name="connsiteX7" fmla="*/ 4 w 180696"/>
                <a:gd name="connsiteY7" fmla="*/ 9111 h 208019"/>
                <a:gd name="connsiteX8" fmla="*/ 8570 w 180696"/>
                <a:gd name="connsiteY8" fmla="*/ 4 h 208019"/>
                <a:gd name="connsiteX9" fmla="*/ 9046 w 180696"/>
                <a:gd name="connsiteY9" fmla="*/ 2 h 208019"/>
                <a:gd name="connsiteX10" fmla="*/ 151296 w 180696"/>
                <a:gd name="connsiteY10" fmla="*/ 5561 h 208019"/>
                <a:gd name="connsiteX11" fmla="*/ 117688 w 180696"/>
                <a:gd name="connsiteY11" fmla="*/ 56574 h 208019"/>
                <a:gd name="connsiteX12" fmla="*/ 110056 w 180696"/>
                <a:gd name="connsiteY12" fmla="*/ 48670 h 208019"/>
                <a:gd name="connsiteX13" fmla="*/ 110056 w 180696"/>
                <a:gd name="connsiteY13" fmla="*/ 48670 h 208019"/>
                <a:gd name="connsiteX14" fmla="*/ 75102 w 180696"/>
                <a:gd name="connsiteY14" fmla="*/ 48061 h 208019"/>
                <a:gd name="connsiteX15" fmla="*/ 67198 w 180696"/>
                <a:gd name="connsiteY15" fmla="*/ 55692 h 208019"/>
                <a:gd name="connsiteX16" fmla="*/ 67198 w 180696"/>
                <a:gd name="connsiteY16" fmla="*/ 55693 h 208019"/>
                <a:gd name="connsiteX17" fmla="*/ 65424 w 180696"/>
                <a:gd name="connsiteY17" fmla="*/ 157341 h 208019"/>
                <a:gd name="connsiteX18" fmla="*/ 73056 w 180696"/>
                <a:gd name="connsiteY18" fmla="*/ 165245 h 208019"/>
                <a:gd name="connsiteX19" fmla="*/ 73056 w 180696"/>
                <a:gd name="connsiteY19" fmla="*/ 165245 h 208019"/>
                <a:gd name="connsiteX20" fmla="*/ 108011 w 180696"/>
                <a:gd name="connsiteY20" fmla="*/ 165855 h 208019"/>
                <a:gd name="connsiteX21" fmla="*/ 115914 w 180696"/>
                <a:gd name="connsiteY21" fmla="*/ 158223 h 208019"/>
                <a:gd name="connsiteX22" fmla="*/ 115914 w 180696"/>
                <a:gd name="connsiteY22" fmla="*/ 158222 h 208019"/>
                <a:gd name="connsiteX23" fmla="*/ 117688 w 180696"/>
                <a:gd name="connsiteY23" fmla="*/ 56574 h 20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696" h="208019">
                  <a:moveTo>
                    <a:pt x="151296" y="5561"/>
                  </a:moveTo>
                  <a:cubicBezTo>
                    <a:pt x="157770" y="5918"/>
                    <a:pt x="164824" y="7369"/>
                    <a:pt x="172459" y="9914"/>
                  </a:cubicBezTo>
                  <a:cubicBezTo>
                    <a:pt x="177378" y="11556"/>
                    <a:pt x="180695" y="16141"/>
                    <a:pt x="180696" y="21300"/>
                  </a:cubicBezTo>
                  <a:lnTo>
                    <a:pt x="180697" y="201858"/>
                  </a:lnTo>
                  <a:cubicBezTo>
                    <a:pt x="180697" y="205965"/>
                    <a:pt x="178643" y="208020"/>
                    <a:pt x="174535" y="208020"/>
                  </a:cubicBezTo>
                  <a:lnTo>
                    <a:pt x="11189" y="208020"/>
                  </a:lnTo>
                  <a:cubicBezTo>
                    <a:pt x="7604" y="208020"/>
                    <a:pt x="4667" y="205143"/>
                    <a:pt x="4559" y="201523"/>
                  </a:cubicBezTo>
                  <a:lnTo>
                    <a:pt x="4" y="9111"/>
                  </a:lnTo>
                  <a:cubicBezTo>
                    <a:pt x="-145" y="4230"/>
                    <a:pt x="3690" y="153"/>
                    <a:pt x="8570" y="4"/>
                  </a:cubicBezTo>
                  <a:cubicBezTo>
                    <a:pt x="8729" y="-1"/>
                    <a:pt x="8887" y="-1"/>
                    <a:pt x="9046" y="2"/>
                  </a:cubicBezTo>
                  <a:cubicBezTo>
                    <a:pt x="61418" y="1431"/>
                    <a:pt x="108835" y="3284"/>
                    <a:pt x="151296" y="5561"/>
                  </a:cubicBezTo>
                  <a:close/>
                  <a:moveTo>
                    <a:pt x="117688" y="56574"/>
                  </a:moveTo>
                  <a:cubicBezTo>
                    <a:pt x="117763" y="52284"/>
                    <a:pt x="114346" y="48746"/>
                    <a:pt x="110056" y="48670"/>
                  </a:cubicBezTo>
                  <a:cubicBezTo>
                    <a:pt x="110056" y="48670"/>
                    <a:pt x="110056" y="48670"/>
                    <a:pt x="110056" y="48670"/>
                  </a:cubicBezTo>
                  <a:lnTo>
                    <a:pt x="75102" y="48061"/>
                  </a:lnTo>
                  <a:cubicBezTo>
                    <a:pt x="70812" y="47986"/>
                    <a:pt x="67273" y="51403"/>
                    <a:pt x="67198" y="55692"/>
                  </a:cubicBezTo>
                  <a:cubicBezTo>
                    <a:pt x="67198" y="55692"/>
                    <a:pt x="67198" y="55693"/>
                    <a:pt x="67198" y="55693"/>
                  </a:cubicBezTo>
                  <a:lnTo>
                    <a:pt x="65424" y="157341"/>
                  </a:lnTo>
                  <a:cubicBezTo>
                    <a:pt x="65349" y="161631"/>
                    <a:pt x="68766" y="165170"/>
                    <a:pt x="73056" y="165245"/>
                  </a:cubicBezTo>
                  <a:cubicBezTo>
                    <a:pt x="73056" y="165245"/>
                    <a:pt x="73056" y="165245"/>
                    <a:pt x="73056" y="165245"/>
                  </a:cubicBezTo>
                  <a:lnTo>
                    <a:pt x="108011" y="165855"/>
                  </a:lnTo>
                  <a:cubicBezTo>
                    <a:pt x="112301" y="165929"/>
                    <a:pt x="115839" y="162513"/>
                    <a:pt x="115914" y="158223"/>
                  </a:cubicBezTo>
                  <a:cubicBezTo>
                    <a:pt x="115914" y="158223"/>
                    <a:pt x="115914" y="158222"/>
                    <a:pt x="115914" y="158222"/>
                  </a:cubicBezTo>
                  <a:lnTo>
                    <a:pt x="117688" y="56574"/>
                  </a:lnTo>
                  <a:close/>
                </a:path>
              </a:pathLst>
            </a:custGeom>
            <a:grpFill/>
            <a:ln w="6697" cap="flat">
              <a:noFill/>
              <a:prstDash val="solid"/>
              <a:miter/>
            </a:ln>
          </p:spPr>
          <p:txBody>
            <a:bodyPr rtlCol="0" anchor="ctr"/>
            <a:lstStyle/>
            <a:p>
              <a:endParaRPr lang="fr-FR"/>
            </a:p>
          </p:txBody>
        </p:sp>
        <p:sp>
          <p:nvSpPr>
            <p:cNvPr id="35" name="Free-form: Shape 721">
              <a:extLst>
                <a:ext uri="{FF2B5EF4-FFF2-40B4-BE49-F238E27FC236}">
                  <a16:creationId xmlns:a16="http://schemas.microsoft.com/office/drawing/2014/main" id="{F13AFB9C-656A-B867-4F86-5A316663A74F}"/>
                </a:ext>
              </a:extLst>
            </p:cNvPr>
            <p:cNvSpPr/>
            <p:nvPr/>
          </p:nvSpPr>
          <p:spPr>
            <a:xfrm>
              <a:off x="8788992" y="1346519"/>
              <a:ext cx="61572" cy="67864"/>
            </a:xfrm>
            <a:custGeom>
              <a:avLst/>
              <a:gdLst>
                <a:gd name="connsiteX0" fmla="*/ 175273 w 182238"/>
                <a:gd name="connsiteY0" fmla="*/ 199922 h 200859"/>
                <a:gd name="connsiteX1" fmla="*/ 19562 w 182238"/>
                <a:gd name="connsiteY1" fmla="*/ 200860 h 200859"/>
                <a:gd name="connsiteX2" fmla="*/ 8712 w 182238"/>
                <a:gd name="connsiteY2" fmla="*/ 190479 h 200859"/>
                <a:gd name="connsiteX3" fmla="*/ 6 w 182238"/>
                <a:gd name="connsiteY3" fmla="*/ 9452 h 200859"/>
                <a:gd name="connsiteX4" fmla="*/ 6100 w 182238"/>
                <a:gd name="connsiteY4" fmla="*/ 2687 h 200859"/>
                <a:gd name="connsiteX5" fmla="*/ 172930 w 182238"/>
                <a:gd name="connsiteY5" fmla="*/ 3826 h 200859"/>
                <a:gd name="connsiteX6" fmla="*/ 181167 w 182238"/>
                <a:gd name="connsiteY6" fmla="*/ 12733 h 200859"/>
                <a:gd name="connsiteX7" fmla="*/ 182238 w 182238"/>
                <a:gd name="connsiteY7" fmla="*/ 192890 h 200859"/>
                <a:gd name="connsiteX8" fmla="*/ 175273 w 182238"/>
                <a:gd name="connsiteY8" fmla="*/ 199922 h 200859"/>
                <a:gd name="connsiteX9" fmla="*/ 108502 w 182238"/>
                <a:gd name="connsiteY9" fmla="*/ 42469 h 200859"/>
                <a:gd name="connsiteX10" fmla="*/ 80239 w 182238"/>
                <a:gd name="connsiteY10" fmla="*/ 43139 h 200859"/>
                <a:gd name="connsiteX11" fmla="*/ 69053 w 182238"/>
                <a:gd name="connsiteY11" fmla="*/ 54851 h 200859"/>
                <a:gd name="connsiteX12" fmla="*/ 69055 w 182238"/>
                <a:gd name="connsiteY12" fmla="*/ 54926 h 200859"/>
                <a:gd name="connsiteX13" fmla="*/ 71399 w 182238"/>
                <a:gd name="connsiteY13" fmla="*/ 150295 h 200859"/>
                <a:gd name="connsiteX14" fmla="*/ 79085 w 182238"/>
                <a:gd name="connsiteY14" fmla="*/ 168445 h 200859"/>
                <a:gd name="connsiteX15" fmla="*/ 79101 w 182238"/>
                <a:gd name="connsiteY15" fmla="*/ 168445 h 200859"/>
                <a:gd name="connsiteX16" fmla="*/ 115802 w 182238"/>
                <a:gd name="connsiteY16" fmla="*/ 167574 h 200859"/>
                <a:gd name="connsiteX17" fmla="*/ 122566 w 182238"/>
                <a:gd name="connsiteY17" fmla="*/ 149022 h 200859"/>
                <a:gd name="connsiteX18" fmla="*/ 120222 w 182238"/>
                <a:gd name="connsiteY18" fmla="*/ 53653 h 200859"/>
                <a:gd name="connsiteX19" fmla="*/ 108508 w 182238"/>
                <a:gd name="connsiteY19" fmla="*/ 42469 h 200859"/>
                <a:gd name="connsiteX20" fmla="*/ 108502 w 182238"/>
                <a:gd name="connsiteY20" fmla="*/ 42469 h 200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2238" h="200859">
                  <a:moveTo>
                    <a:pt x="175273" y="199922"/>
                  </a:moveTo>
                  <a:lnTo>
                    <a:pt x="19562" y="200860"/>
                  </a:lnTo>
                  <a:cubicBezTo>
                    <a:pt x="13749" y="200865"/>
                    <a:pt x="8963" y="196287"/>
                    <a:pt x="8712" y="190479"/>
                  </a:cubicBezTo>
                  <a:lnTo>
                    <a:pt x="6" y="9452"/>
                  </a:lnTo>
                  <a:cubicBezTo>
                    <a:pt x="-146" y="5912"/>
                    <a:pt x="2565" y="2903"/>
                    <a:pt x="6100" y="2687"/>
                  </a:cubicBezTo>
                  <a:cubicBezTo>
                    <a:pt x="63786" y="-1242"/>
                    <a:pt x="119396" y="-862"/>
                    <a:pt x="172930" y="3826"/>
                  </a:cubicBezTo>
                  <a:cubicBezTo>
                    <a:pt x="177556" y="4238"/>
                    <a:pt x="181117" y="8089"/>
                    <a:pt x="181167" y="12733"/>
                  </a:cubicBezTo>
                  <a:lnTo>
                    <a:pt x="182238" y="192890"/>
                  </a:lnTo>
                  <a:cubicBezTo>
                    <a:pt x="182238" y="197533"/>
                    <a:pt x="179917" y="199877"/>
                    <a:pt x="175273" y="199922"/>
                  </a:cubicBezTo>
                  <a:close/>
                  <a:moveTo>
                    <a:pt x="108502" y="42469"/>
                  </a:moveTo>
                  <a:lnTo>
                    <a:pt x="80239" y="43139"/>
                  </a:lnTo>
                  <a:cubicBezTo>
                    <a:pt x="73916" y="43284"/>
                    <a:pt x="68908" y="48527"/>
                    <a:pt x="69053" y="54851"/>
                  </a:cubicBezTo>
                  <a:cubicBezTo>
                    <a:pt x="69053" y="54876"/>
                    <a:pt x="69054" y="54901"/>
                    <a:pt x="69055" y="54926"/>
                  </a:cubicBezTo>
                  <a:lnTo>
                    <a:pt x="71399" y="150295"/>
                  </a:lnTo>
                  <a:cubicBezTo>
                    <a:pt x="71650" y="160427"/>
                    <a:pt x="75092" y="168553"/>
                    <a:pt x="79085" y="168445"/>
                  </a:cubicBezTo>
                  <a:cubicBezTo>
                    <a:pt x="79090" y="168445"/>
                    <a:pt x="79096" y="168445"/>
                    <a:pt x="79101" y="168445"/>
                  </a:cubicBezTo>
                  <a:lnTo>
                    <a:pt x="115802" y="167574"/>
                  </a:lnTo>
                  <a:cubicBezTo>
                    <a:pt x="119793" y="167452"/>
                    <a:pt x="122820" y="159148"/>
                    <a:pt x="122566" y="149022"/>
                  </a:cubicBezTo>
                  <a:lnTo>
                    <a:pt x="120222" y="53653"/>
                  </a:lnTo>
                  <a:cubicBezTo>
                    <a:pt x="120075" y="47330"/>
                    <a:pt x="114831" y="42323"/>
                    <a:pt x="108508" y="42469"/>
                  </a:cubicBezTo>
                  <a:cubicBezTo>
                    <a:pt x="108506" y="42469"/>
                    <a:pt x="108504" y="42469"/>
                    <a:pt x="108502" y="42469"/>
                  </a:cubicBezTo>
                  <a:close/>
                </a:path>
              </a:pathLst>
            </a:custGeom>
            <a:grpFill/>
            <a:ln w="6697" cap="flat">
              <a:noFill/>
              <a:prstDash val="solid"/>
              <a:miter/>
            </a:ln>
          </p:spPr>
          <p:txBody>
            <a:bodyPr rtlCol="0" anchor="ctr"/>
            <a:lstStyle/>
            <a:p>
              <a:endParaRPr lang="fr-FR"/>
            </a:p>
          </p:txBody>
        </p:sp>
        <p:sp>
          <p:nvSpPr>
            <p:cNvPr id="36" name="Free-form: Shape 724">
              <a:extLst>
                <a:ext uri="{FF2B5EF4-FFF2-40B4-BE49-F238E27FC236}">
                  <a16:creationId xmlns:a16="http://schemas.microsoft.com/office/drawing/2014/main" id="{F3319486-8C9B-601F-C9D0-C3BEA827220B}"/>
                </a:ext>
              </a:extLst>
            </p:cNvPr>
            <p:cNvSpPr/>
            <p:nvPr/>
          </p:nvSpPr>
          <p:spPr>
            <a:xfrm>
              <a:off x="8675062" y="1355980"/>
              <a:ext cx="60734" cy="69025"/>
            </a:xfrm>
            <a:custGeom>
              <a:avLst/>
              <a:gdLst>
                <a:gd name="connsiteX0" fmla="*/ 63692 w 179757"/>
                <a:gd name="connsiteY0" fmla="*/ 51570 h 204296"/>
                <a:gd name="connsiteX1" fmla="*/ 68916 w 179757"/>
                <a:gd name="connsiteY1" fmla="*/ 160468 h 204296"/>
                <a:gd name="connsiteX2" fmla="*/ 77019 w 179757"/>
                <a:gd name="connsiteY2" fmla="*/ 190606 h 204296"/>
                <a:gd name="connsiteX3" fmla="*/ 74139 w 179757"/>
                <a:gd name="connsiteY3" fmla="*/ 196700 h 204296"/>
                <a:gd name="connsiteX4" fmla="*/ 5693 w 179757"/>
                <a:gd name="connsiteY4" fmla="*/ 204268 h 204296"/>
                <a:gd name="connsiteX5" fmla="*/ 28 w 179757"/>
                <a:gd name="connsiteY5" fmla="*/ 199676 h 204296"/>
                <a:gd name="connsiteX6" fmla="*/ 1 w 179757"/>
                <a:gd name="connsiteY6" fmla="*/ 199044 h 204296"/>
                <a:gd name="connsiteX7" fmla="*/ 3952 w 179757"/>
                <a:gd name="connsiteY7" fmla="*/ 8708 h 204296"/>
                <a:gd name="connsiteX8" fmla="*/ 11922 w 179757"/>
                <a:gd name="connsiteY8" fmla="*/ 872 h 204296"/>
                <a:gd name="connsiteX9" fmla="*/ 160735 w 179757"/>
                <a:gd name="connsiteY9" fmla="*/ 1 h 204296"/>
                <a:gd name="connsiteX10" fmla="*/ 175201 w 179757"/>
                <a:gd name="connsiteY10" fmla="*/ 13999 h 204296"/>
                <a:gd name="connsiteX11" fmla="*/ 179755 w 179757"/>
                <a:gd name="connsiteY11" fmla="*/ 196299 h 204296"/>
                <a:gd name="connsiteX12" fmla="*/ 173795 w 179757"/>
                <a:gd name="connsiteY12" fmla="*/ 202795 h 204296"/>
                <a:gd name="connsiteX13" fmla="*/ 90414 w 179757"/>
                <a:gd name="connsiteY13" fmla="*/ 194021 h 204296"/>
                <a:gd name="connsiteX14" fmla="*/ 87156 w 179757"/>
                <a:gd name="connsiteY14" fmla="*/ 188546 h 204296"/>
                <a:gd name="connsiteX15" fmla="*/ 88136 w 179757"/>
                <a:gd name="connsiteY15" fmla="*/ 186654 h 204296"/>
                <a:gd name="connsiteX16" fmla="*/ 99790 w 179757"/>
                <a:gd name="connsiteY16" fmla="*/ 183439 h 204296"/>
                <a:gd name="connsiteX17" fmla="*/ 110548 w 179757"/>
                <a:gd name="connsiteY17" fmla="*/ 175298 h 204296"/>
                <a:gd name="connsiteX18" fmla="*/ 110640 w 179757"/>
                <a:gd name="connsiteY18" fmla="*/ 174197 h 204296"/>
                <a:gd name="connsiteX19" fmla="*/ 113117 w 179757"/>
                <a:gd name="connsiteY19" fmla="*/ 54182 h 204296"/>
                <a:gd name="connsiteX20" fmla="*/ 107960 w 179757"/>
                <a:gd name="connsiteY20" fmla="*/ 48825 h 204296"/>
                <a:gd name="connsiteX21" fmla="*/ 67442 w 179757"/>
                <a:gd name="connsiteY21" fmla="*/ 47954 h 204296"/>
                <a:gd name="connsiteX22" fmla="*/ 63692 w 179757"/>
                <a:gd name="connsiteY22" fmla="*/ 51570 h 20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9757" h="204296">
                  <a:moveTo>
                    <a:pt x="63692" y="51570"/>
                  </a:moveTo>
                  <a:cubicBezTo>
                    <a:pt x="63736" y="87914"/>
                    <a:pt x="65478" y="124213"/>
                    <a:pt x="68916" y="160468"/>
                  </a:cubicBezTo>
                  <a:cubicBezTo>
                    <a:pt x="69786" y="169911"/>
                    <a:pt x="74474" y="181765"/>
                    <a:pt x="77019" y="190606"/>
                  </a:cubicBezTo>
                  <a:cubicBezTo>
                    <a:pt x="78135" y="194356"/>
                    <a:pt x="77176" y="196388"/>
                    <a:pt x="74139" y="196700"/>
                  </a:cubicBezTo>
                  <a:lnTo>
                    <a:pt x="5693" y="204268"/>
                  </a:lnTo>
                  <a:cubicBezTo>
                    <a:pt x="2861" y="204564"/>
                    <a:pt x="324" y="202508"/>
                    <a:pt x="28" y="199676"/>
                  </a:cubicBezTo>
                  <a:cubicBezTo>
                    <a:pt x="6" y="199466"/>
                    <a:pt x="-3" y="199255"/>
                    <a:pt x="1" y="199044"/>
                  </a:cubicBezTo>
                  <a:lnTo>
                    <a:pt x="3952" y="8708"/>
                  </a:lnTo>
                  <a:cubicBezTo>
                    <a:pt x="4025" y="4384"/>
                    <a:pt x="7562" y="907"/>
                    <a:pt x="11922" y="872"/>
                  </a:cubicBezTo>
                  <a:lnTo>
                    <a:pt x="160735" y="1"/>
                  </a:lnTo>
                  <a:cubicBezTo>
                    <a:pt x="170111" y="-88"/>
                    <a:pt x="174933" y="4578"/>
                    <a:pt x="175201" y="13999"/>
                  </a:cubicBezTo>
                  <a:lnTo>
                    <a:pt x="179755" y="196299"/>
                  </a:lnTo>
                  <a:cubicBezTo>
                    <a:pt x="179834" y="199713"/>
                    <a:pt x="177203" y="202580"/>
                    <a:pt x="173795" y="202795"/>
                  </a:cubicBezTo>
                  <a:cubicBezTo>
                    <a:pt x="147318" y="204402"/>
                    <a:pt x="119525" y="201478"/>
                    <a:pt x="90414" y="194021"/>
                  </a:cubicBezTo>
                  <a:cubicBezTo>
                    <a:pt x="88004" y="193435"/>
                    <a:pt x="86545" y="190983"/>
                    <a:pt x="87156" y="188546"/>
                  </a:cubicBezTo>
                  <a:cubicBezTo>
                    <a:pt x="87331" y="187848"/>
                    <a:pt x="87667" y="187200"/>
                    <a:pt x="88136" y="186654"/>
                  </a:cubicBezTo>
                  <a:cubicBezTo>
                    <a:pt x="90592" y="183752"/>
                    <a:pt x="94477" y="182680"/>
                    <a:pt x="99790" y="183439"/>
                  </a:cubicBezTo>
                  <a:cubicBezTo>
                    <a:pt x="104990" y="184180"/>
                    <a:pt x="109806" y="180535"/>
                    <a:pt x="110548" y="175298"/>
                  </a:cubicBezTo>
                  <a:cubicBezTo>
                    <a:pt x="110599" y="174933"/>
                    <a:pt x="110630" y="174566"/>
                    <a:pt x="110640" y="174197"/>
                  </a:cubicBezTo>
                  <a:lnTo>
                    <a:pt x="113117" y="54182"/>
                  </a:lnTo>
                  <a:cubicBezTo>
                    <a:pt x="113207" y="50700"/>
                    <a:pt x="111488" y="48914"/>
                    <a:pt x="107960" y="48825"/>
                  </a:cubicBezTo>
                  <a:lnTo>
                    <a:pt x="67442" y="47954"/>
                  </a:lnTo>
                  <a:cubicBezTo>
                    <a:pt x="64942" y="47909"/>
                    <a:pt x="63692" y="49115"/>
                    <a:pt x="63692" y="51570"/>
                  </a:cubicBezTo>
                  <a:close/>
                </a:path>
              </a:pathLst>
            </a:custGeom>
            <a:grpFill/>
            <a:ln w="6697" cap="flat">
              <a:noFill/>
              <a:prstDash val="solid"/>
              <a:miter/>
            </a:ln>
          </p:spPr>
          <p:txBody>
            <a:bodyPr rtlCol="0" anchor="ctr"/>
            <a:lstStyle/>
            <a:p>
              <a:endParaRPr lang="fr-FR"/>
            </a:p>
          </p:txBody>
        </p:sp>
        <p:sp>
          <p:nvSpPr>
            <p:cNvPr id="37" name="Free-form: Shape 737">
              <a:extLst>
                <a:ext uri="{FF2B5EF4-FFF2-40B4-BE49-F238E27FC236}">
                  <a16:creationId xmlns:a16="http://schemas.microsoft.com/office/drawing/2014/main" id="{97C72FEE-63DE-A5E3-5E57-F0825D4AACA4}"/>
                </a:ext>
              </a:extLst>
            </p:cNvPr>
            <p:cNvSpPr/>
            <p:nvPr/>
          </p:nvSpPr>
          <p:spPr>
            <a:xfrm>
              <a:off x="8790209" y="1430200"/>
              <a:ext cx="60967" cy="66294"/>
            </a:xfrm>
            <a:custGeom>
              <a:avLst/>
              <a:gdLst>
                <a:gd name="connsiteX0" fmla="*/ 84741 w 180445"/>
                <a:gd name="connsiteY0" fmla="*/ 188863 h 196212"/>
                <a:gd name="connsiteX1" fmla="*/ 16295 w 180445"/>
                <a:gd name="connsiteY1" fmla="*/ 191140 h 196212"/>
                <a:gd name="connsiteX2" fmla="*/ 8258 w 180445"/>
                <a:gd name="connsiteY2" fmla="*/ 182099 h 196212"/>
                <a:gd name="connsiteX3" fmla="*/ 21 w 180445"/>
                <a:gd name="connsiteY3" fmla="*/ 10180 h 196212"/>
                <a:gd name="connsiteX4" fmla="*/ 9732 w 180445"/>
                <a:gd name="connsiteY4" fmla="*/ 0 h 196212"/>
                <a:gd name="connsiteX5" fmla="*/ 175020 w 180445"/>
                <a:gd name="connsiteY5" fmla="*/ 0 h 196212"/>
                <a:gd name="connsiteX6" fmla="*/ 179307 w 180445"/>
                <a:gd name="connsiteY6" fmla="*/ 4286 h 196212"/>
                <a:gd name="connsiteX7" fmla="*/ 180445 w 180445"/>
                <a:gd name="connsiteY7" fmla="*/ 189867 h 196212"/>
                <a:gd name="connsiteX8" fmla="*/ 174618 w 180445"/>
                <a:gd name="connsiteY8" fmla="*/ 195962 h 196212"/>
                <a:gd name="connsiteX9" fmla="*/ 99877 w 180445"/>
                <a:gd name="connsiteY9" fmla="*/ 188863 h 196212"/>
                <a:gd name="connsiteX10" fmla="*/ 84741 w 180445"/>
                <a:gd name="connsiteY10" fmla="*/ 188863 h 196212"/>
                <a:gd name="connsiteX11" fmla="*/ 102891 w 180445"/>
                <a:gd name="connsiteY11" fmla="*/ 179888 h 196212"/>
                <a:gd name="connsiteX12" fmla="*/ 112792 w 180445"/>
                <a:gd name="connsiteY12" fmla="*/ 176749 h 196212"/>
                <a:gd name="connsiteX13" fmla="*/ 113539 w 180445"/>
                <a:gd name="connsiteY13" fmla="*/ 174330 h 196212"/>
                <a:gd name="connsiteX14" fmla="*/ 114142 w 180445"/>
                <a:gd name="connsiteY14" fmla="*/ 39380 h 196212"/>
                <a:gd name="connsiteX15" fmla="*/ 109990 w 180445"/>
                <a:gd name="connsiteY15" fmla="*/ 35362 h 196212"/>
                <a:gd name="connsiteX16" fmla="*/ 72552 w 180445"/>
                <a:gd name="connsiteY16" fmla="*/ 33218 h 196212"/>
                <a:gd name="connsiteX17" fmla="*/ 68132 w 180445"/>
                <a:gd name="connsiteY17" fmla="*/ 37103 h 196212"/>
                <a:gd name="connsiteX18" fmla="*/ 66257 w 180445"/>
                <a:gd name="connsiteY18" fmla="*/ 138901 h 196212"/>
                <a:gd name="connsiteX19" fmla="*/ 75834 w 180445"/>
                <a:gd name="connsiteY19" fmla="*/ 171249 h 196212"/>
                <a:gd name="connsiteX20" fmla="*/ 82330 w 180445"/>
                <a:gd name="connsiteY20" fmla="*/ 174731 h 196212"/>
                <a:gd name="connsiteX21" fmla="*/ 102891 w 180445"/>
                <a:gd name="connsiteY21" fmla="*/ 179888 h 19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445" h="196212">
                  <a:moveTo>
                    <a:pt x="84741" y="188863"/>
                  </a:moveTo>
                  <a:cubicBezTo>
                    <a:pt x="62997" y="194399"/>
                    <a:pt x="40182" y="195158"/>
                    <a:pt x="16295" y="191140"/>
                  </a:cubicBezTo>
                  <a:cubicBezTo>
                    <a:pt x="11843" y="190393"/>
                    <a:pt x="8505" y="186636"/>
                    <a:pt x="8258" y="182099"/>
                  </a:cubicBezTo>
                  <a:lnTo>
                    <a:pt x="21" y="10180"/>
                  </a:lnTo>
                  <a:cubicBezTo>
                    <a:pt x="-292" y="3393"/>
                    <a:pt x="2945" y="0"/>
                    <a:pt x="9732" y="0"/>
                  </a:cubicBezTo>
                  <a:lnTo>
                    <a:pt x="175020" y="0"/>
                  </a:lnTo>
                  <a:cubicBezTo>
                    <a:pt x="177387" y="0"/>
                    <a:pt x="179307" y="1919"/>
                    <a:pt x="179307" y="4286"/>
                  </a:cubicBezTo>
                  <a:lnTo>
                    <a:pt x="180445" y="189867"/>
                  </a:lnTo>
                  <a:cubicBezTo>
                    <a:pt x="180448" y="193131"/>
                    <a:pt x="177879" y="195818"/>
                    <a:pt x="174618" y="195962"/>
                  </a:cubicBezTo>
                  <a:cubicBezTo>
                    <a:pt x="147160" y="197033"/>
                    <a:pt x="122246" y="194667"/>
                    <a:pt x="99877" y="188863"/>
                  </a:cubicBezTo>
                  <a:cubicBezTo>
                    <a:pt x="94832" y="187568"/>
                    <a:pt x="89786" y="187568"/>
                    <a:pt x="84741" y="188863"/>
                  </a:cubicBezTo>
                  <a:close/>
                  <a:moveTo>
                    <a:pt x="102891" y="179888"/>
                  </a:moveTo>
                  <a:cubicBezTo>
                    <a:pt x="106513" y="181740"/>
                    <a:pt x="110945" y="180334"/>
                    <a:pt x="112792" y="176749"/>
                  </a:cubicBezTo>
                  <a:cubicBezTo>
                    <a:pt x="113181" y="175992"/>
                    <a:pt x="113434" y="175174"/>
                    <a:pt x="113539" y="174330"/>
                  </a:cubicBezTo>
                  <a:cubicBezTo>
                    <a:pt x="118629" y="134325"/>
                    <a:pt x="118830" y="89341"/>
                    <a:pt x="114142" y="39380"/>
                  </a:cubicBezTo>
                  <a:cubicBezTo>
                    <a:pt x="113948" y="37218"/>
                    <a:pt x="112188" y="35515"/>
                    <a:pt x="109990" y="35362"/>
                  </a:cubicBezTo>
                  <a:lnTo>
                    <a:pt x="72552" y="33218"/>
                  </a:lnTo>
                  <a:cubicBezTo>
                    <a:pt x="69829" y="33085"/>
                    <a:pt x="68355" y="34379"/>
                    <a:pt x="68132" y="37103"/>
                  </a:cubicBezTo>
                  <a:cubicBezTo>
                    <a:pt x="65899" y="70902"/>
                    <a:pt x="65274" y="104834"/>
                    <a:pt x="66257" y="138901"/>
                  </a:cubicBezTo>
                  <a:cubicBezTo>
                    <a:pt x="66614" y="150867"/>
                    <a:pt x="69806" y="161650"/>
                    <a:pt x="75834" y="171249"/>
                  </a:cubicBezTo>
                  <a:cubicBezTo>
                    <a:pt x="77352" y="173616"/>
                    <a:pt x="79517" y="174776"/>
                    <a:pt x="82330" y="174731"/>
                  </a:cubicBezTo>
                  <a:cubicBezTo>
                    <a:pt x="89117" y="174597"/>
                    <a:pt x="95970" y="176317"/>
                    <a:pt x="102891" y="179888"/>
                  </a:cubicBezTo>
                  <a:close/>
                </a:path>
              </a:pathLst>
            </a:custGeom>
            <a:grpFill/>
            <a:ln w="6697" cap="flat">
              <a:noFill/>
              <a:prstDash val="solid"/>
              <a:miter/>
            </a:ln>
          </p:spPr>
          <p:txBody>
            <a:bodyPr rtlCol="0" anchor="ctr"/>
            <a:lstStyle/>
            <a:p>
              <a:endParaRPr lang="fr-FR"/>
            </a:p>
          </p:txBody>
        </p:sp>
        <p:sp>
          <p:nvSpPr>
            <p:cNvPr id="38" name="Free-form: Shape 738">
              <a:extLst>
                <a:ext uri="{FF2B5EF4-FFF2-40B4-BE49-F238E27FC236}">
                  <a16:creationId xmlns:a16="http://schemas.microsoft.com/office/drawing/2014/main" id="{A25DE7A2-808B-CACB-1EF2-5A74F9B5D77B}"/>
                </a:ext>
              </a:extLst>
            </p:cNvPr>
            <p:cNvSpPr/>
            <p:nvPr/>
          </p:nvSpPr>
          <p:spPr>
            <a:xfrm>
              <a:off x="8673970" y="1436513"/>
              <a:ext cx="61577" cy="66526"/>
            </a:xfrm>
            <a:custGeom>
              <a:avLst/>
              <a:gdLst>
                <a:gd name="connsiteX0" fmla="*/ 755 w 182251"/>
                <a:gd name="connsiteY0" fmla="*/ 19221 h 196899"/>
                <a:gd name="connsiteX1" fmla="*/ 354 w 182251"/>
                <a:gd name="connsiteY1" fmla="*/ 3416 h 196899"/>
                <a:gd name="connsiteX2" fmla="*/ 4238 w 182251"/>
                <a:gd name="connsiteY2" fmla="*/ 0 h 196899"/>
                <a:gd name="connsiteX3" fmla="*/ 176693 w 182251"/>
                <a:gd name="connsiteY3" fmla="*/ 0 h 196899"/>
                <a:gd name="connsiteX4" fmla="*/ 182252 w 182251"/>
                <a:gd name="connsiteY4" fmla="*/ 5559 h 196899"/>
                <a:gd name="connsiteX5" fmla="*/ 182252 w 182251"/>
                <a:gd name="connsiteY5" fmla="*/ 191877 h 196899"/>
                <a:gd name="connsiteX6" fmla="*/ 177229 w 182251"/>
                <a:gd name="connsiteY6" fmla="*/ 196900 h 196899"/>
                <a:gd name="connsiteX7" fmla="*/ 11873 w 182251"/>
                <a:gd name="connsiteY7" fmla="*/ 196900 h 196899"/>
                <a:gd name="connsiteX8" fmla="*/ 1742 w 182251"/>
                <a:gd name="connsiteY8" fmla="*/ 186805 h 196899"/>
                <a:gd name="connsiteX9" fmla="*/ 1760 w 182251"/>
                <a:gd name="connsiteY9" fmla="*/ 186184 h 196899"/>
                <a:gd name="connsiteX10" fmla="*/ 755 w 182251"/>
                <a:gd name="connsiteY10" fmla="*/ 19221 h 196899"/>
                <a:gd name="connsiteX11" fmla="*/ 111060 w 182251"/>
                <a:gd name="connsiteY11" fmla="*/ 40251 h 196899"/>
                <a:gd name="connsiteX12" fmla="*/ 73421 w 182251"/>
                <a:gd name="connsiteY12" fmla="*/ 41188 h 196899"/>
                <a:gd name="connsiteX13" fmla="*/ 68733 w 182251"/>
                <a:gd name="connsiteY13" fmla="*/ 46141 h 196899"/>
                <a:gd name="connsiteX14" fmla="*/ 68733 w 182251"/>
                <a:gd name="connsiteY14" fmla="*/ 46144 h 196899"/>
                <a:gd name="connsiteX15" fmla="*/ 71345 w 182251"/>
                <a:gd name="connsiteY15" fmla="*/ 153769 h 196899"/>
                <a:gd name="connsiteX16" fmla="*/ 83400 w 182251"/>
                <a:gd name="connsiteY16" fmla="*/ 168637 h 196899"/>
                <a:gd name="connsiteX17" fmla="*/ 107242 w 182251"/>
                <a:gd name="connsiteY17" fmla="*/ 168035 h 196899"/>
                <a:gd name="connsiteX18" fmla="*/ 118628 w 182251"/>
                <a:gd name="connsiteY18" fmla="*/ 152665 h 196899"/>
                <a:gd name="connsiteX19" fmla="*/ 118628 w 182251"/>
                <a:gd name="connsiteY19" fmla="*/ 152631 h 196899"/>
                <a:gd name="connsiteX20" fmla="*/ 115949 w 182251"/>
                <a:gd name="connsiteY20" fmla="*/ 45006 h 196899"/>
                <a:gd name="connsiteX21" fmla="*/ 111060 w 182251"/>
                <a:gd name="connsiteY21" fmla="*/ 40251 h 196899"/>
                <a:gd name="connsiteX22" fmla="*/ 111060 w 182251"/>
                <a:gd name="connsiteY22" fmla="*/ 40251 h 19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2251" h="196899">
                  <a:moveTo>
                    <a:pt x="755" y="19221"/>
                  </a:moveTo>
                  <a:cubicBezTo>
                    <a:pt x="-93" y="13238"/>
                    <a:pt x="-227" y="7970"/>
                    <a:pt x="354" y="3416"/>
                  </a:cubicBezTo>
                  <a:cubicBezTo>
                    <a:pt x="666" y="1138"/>
                    <a:pt x="1961" y="0"/>
                    <a:pt x="4238" y="0"/>
                  </a:cubicBezTo>
                  <a:lnTo>
                    <a:pt x="176693" y="0"/>
                  </a:lnTo>
                  <a:cubicBezTo>
                    <a:pt x="179763" y="0"/>
                    <a:pt x="182252" y="2489"/>
                    <a:pt x="182252" y="5559"/>
                  </a:cubicBezTo>
                  <a:lnTo>
                    <a:pt x="182252" y="191877"/>
                  </a:lnTo>
                  <a:cubicBezTo>
                    <a:pt x="182252" y="195225"/>
                    <a:pt x="180577" y="196900"/>
                    <a:pt x="177229" y="196900"/>
                  </a:cubicBezTo>
                  <a:lnTo>
                    <a:pt x="11873" y="196900"/>
                  </a:lnTo>
                  <a:cubicBezTo>
                    <a:pt x="6288" y="196910"/>
                    <a:pt x="1752" y="192390"/>
                    <a:pt x="1742" y="186805"/>
                  </a:cubicBezTo>
                  <a:cubicBezTo>
                    <a:pt x="1742" y="186598"/>
                    <a:pt x="1748" y="186391"/>
                    <a:pt x="1760" y="186184"/>
                  </a:cubicBezTo>
                  <a:cubicBezTo>
                    <a:pt x="5243" y="126779"/>
                    <a:pt x="7788" y="69585"/>
                    <a:pt x="755" y="19221"/>
                  </a:cubicBezTo>
                  <a:close/>
                  <a:moveTo>
                    <a:pt x="111060" y="40251"/>
                  </a:moveTo>
                  <a:lnTo>
                    <a:pt x="73421" y="41188"/>
                  </a:lnTo>
                  <a:cubicBezTo>
                    <a:pt x="70759" y="41261"/>
                    <a:pt x="68660" y="43478"/>
                    <a:pt x="68733" y="46141"/>
                  </a:cubicBezTo>
                  <a:cubicBezTo>
                    <a:pt x="68733" y="46142"/>
                    <a:pt x="68733" y="46143"/>
                    <a:pt x="68733" y="46144"/>
                  </a:cubicBezTo>
                  <a:lnTo>
                    <a:pt x="71345" y="153769"/>
                  </a:lnTo>
                  <a:cubicBezTo>
                    <a:pt x="71540" y="162119"/>
                    <a:pt x="76934" y="168772"/>
                    <a:pt x="83400" y="168637"/>
                  </a:cubicBezTo>
                  <a:lnTo>
                    <a:pt x="107242" y="168035"/>
                  </a:lnTo>
                  <a:cubicBezTo>
                    <a:pt x="113714" y="167904"/>
                    <a:pt x="118812" y="161023"/>
                    <a:pt x="118628" y="152665"/>
                  </a:cubicBezTo>
                  <a:cubicBezTo>
                    <a:pt x="118628" y="152654"/>
                    <a:pt x="118628" y="152642"/>
                    <a:pt x="118628" y="152631"/>
                  </a:cubicBezTo>
                  <a:lnTo>
                    <a:pt x="115949" y="45006"/>
                  </a:lnTo>
                  <a:cubicBezTo>
                    <a:pt x="115912" y="42343"/>
                    <a:pt x="113723" y="40214"/>
                    <a:pt x="111060" y="40251"/>
                  </a:cubicBezTo>
                  <a:cubicBezTo>
                    <a:pt x="111060" y="40251"/>
                    <a:pt x="111060" y="40251"/>
                    <a:pt x="111060" y="40251"/>
                  </a:cubicBezTo>
                  <a:close/>
                </a:path>
              </a:pathLst>
            </a:custGeom>
            <a:grpFill/>
            <a:ln w="6697" cap="flat">
              <a:noFill/>
              <a:prstDash val="solid"/>
              <a:miter/>
            </a:ln>
          </p:spPr>
          <p:txBody>
            <a:bodyPr rtlCol="0" anchor="ctr"/>
            <a:lstStyle/>
            <a:p>
              <a:endParaRPr lang="fr-FR"/>
            </a:p>
          </p:txBody>
        </p:sp>
        <p:sp>
          <p:nvSpPr>
            <p:cNvPr id="39" name="Free-form: Shape 743">
              <a:extLst>
                <a:ext uri="{FF2B5EF4-FFF2-40B4-BE49-F238E27FC236}">
                  <a16:creationId xmlns:a16="http://schemas.microsoft.com/office/drawing/2014/main" id="{69BDD2FD-E0EE-E140-42F3-D448464F98F6}"/>
                </a:ext>
              </a:extLst>
            </p:cNvPr>
            <p:cNvSpPr/>
            <p:nvPr/>
          </p:nvSpPr>
          <p:spPr>
            <a:xfrm>
              <a:off x="8542705" y="1444612"/>
              <a:ext cx="74821" cy="62864"/>
            </a:xfrm>
            <a:custGeom>
              <a:avLst/>
              <a:gdLst>
                <a:gd name="connsiteX0" fmla="*/ 221448 w 221449"/>
                <a:gd name="connsiteY0" fmla="*/ 170903 h 186061"/>
                <a:gd name="connsiteX1" fmla="*/ 208592 w 221449"/>
                <a:gd name="connsiteY1" fmla="*/ 184031 h 186061"/>
                <a:gd name="connsiteX2" fmla="*/ 14784 w 221449"/>
                <a:gd name="connsiteY2" fmla="*/ 186061 h 186061"/>
                <a:gd name="connsiteX3" fmla="*/ 1656 w 221449"/>
                <a:gd name="connsiteY3" fmla="*/ 173205 h 186061"/>
                <a:gd name="connsiteX4" fmla="*/ 1 w 221449"/>
                <a:gd name="connsiteY4" fmla="*/ 15159 h 186061"/>
                <a:gd name="connsiteX5" fmla="*/ 12857 w 221449"/>
                <a:gd name="connsiteY5" fmla="*/ 2031 h 186061"/>
                <a:gd name="connsiteX6" fmla="*/ 206665 w 221449"/>
                <a:gd name="connsiteY6" fmla="*/ 1 h 186061"/>
                <a:gd name="connsiteX7" fmla="*/ 219793 w 221449"/>
                <a:gd name="connsiteY7" fmla="*/ 12857 h 186061"/>
                <a:gd name="connsiteX8" fmla="*/ 221448 w 221449"/>
                <a:gd name="connsiteY8" fmla="*/ 170903 h 186061"/>
                <a:gd name="connsiteX9" fmla="*/ 104961 w 221449"/>
                <a:gd name="connsiteY9" fmla="*/ 59696 h 186061"/>
                <a:gd name="connsiteX10" fmla="*/ 93549 w 221449"/>
                <a:gd name="connsiteY10" fmla="*/ 48204 h 186061"/>
                <a:gd name="connsiteX11" fmla="*/ 93549 w 221449"/>
                <a:gd name="connsiteY11" fmla="*/ 48204 h 186061"/>
                <a:gd name="connsiteX12" fmla="*/ 68234 w 221449"/>
                <a:gd name="connsiteY12" fmla="*/ 48115 h 186061"/>
                <a:gd name="connsiteX13" fmla="*/ 56741 w 221449"/>
                <a:gd name="connsiteY13" fmla="*/ 59527 h 186061"/>
                <a:gd name="connsiteX14" fmla="*/ 56741 w 221449"/>
                <a:gd name="connsiteY14" fmla="*/ 59528 h 186061"/>
                <a:gd name="connsiteX15" fmla="*/ 56480 w 221449"/>
                <a:gd name="connsiteY15" fmla="*/ 134269 h 186061"/>
                <a:gd name="connsiteX16" fmla="*/ 67892 w 221449"/>
                <a:gd name="connsiteY16" fmla="*/ 145761 h 186061"/>
                <a:gd name="connsiteX17" fmla="*/ 67893 w 221449"/>
                <a:gd name="connsiteY17" fmla="*/ 145761 h 186061"/>
                <a:gd name="connsiteX18" fmla="*/ 93208 w 221449"/>
                <a:gd name="connsiteY18" fmla="*/ 145850 h 186061"/>
                <a:gd name="connsiteX19" fmla="*/ 104700 w 221449"/>
                <a:gd name="connsiteY19" fmla="*/ 134438 h 186061"/>
                <a:gd name="connsiteX20" fmla="*/ 104700 w 221449"/>
                <a:gd name="connsiteY20" fmla="*/ 134437 h 186061"/>
                <a:gd name="connsiteX21" fmla="*/ 104961 w 221449"/>
                <a:gd name="connsiteY21" fmla="*/ 59696 h 186061"/>
                <a:gd name="connsiteX22" fmla="*/ 146756 w 221449"/>
                <a:gd name="connsiteY22" fmla="*/ 56062 h 186061"/>
                <a:gd name="connsiteX23" fmla="*/ 150506 w 221449"/>
                <a:gd name="connsiteY23" fmla="*/ 138104 h 186061"/>
                <a:gd name="connsiteX24" fmla="*/ 152516 w 221449"/>
                <a:gd name="connsiteY24" fmla="*/ 139912 h 186061"/>
                <a:gd name="connsiteX25" fmla="*/ 155261 w 221449"/>
                <a:gd name="connsiteY25" fmla="*/ 139845 h 186061"/>
                <a:gd name="connsiteX26" fmla="*/ 174554 w 221449"/>
                <a:gd name="connsiteY26" fmla="*/ 117704 h 186061"/>
                <a:gd name="connsiteX27" fmla="*/ 174549 w 221449"/>
                <a:gd name="connsiteY27" fmla="*/ 117610 h 186061"/>
                <a:gd name="connsiteX28" fmla="*/ 172540 w 221449"/>
                <a:gd name="connsiteY28" fmla="*/ 74278 h 186061"/>
                <a:gd name="connsiteX29" fmla="*/ 151377 w 221449"/>
                <a:gd name="connsiteY29" fmla="*/ 53919 h 186061"/>
                <a:gd name="connsiteX30" fmla="*/ 148631 w 221449"/>
                <a:gd name="connsiteY30" fmla="*/ 54053 h 186061"/>
                <a:gd name="connsiteX31" fmla="*/ 146756 w 221449"/>
                <a:gd name="connsiteY31" fmla="*/ 56060 h 186061"/>
                <a:gd name="connsiteX32" fmla="*/ 146756 w 221449"/>
                <a:gd name="connsiteY32" fmla="*/ 56063 h 18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1449" h="186061">
                  <a:moveTo>
                    <a:pt x="221448" y="170903"/>
                  </a:moveTo>
                  <a:cubicBezTo>
                    <a:pt x="221524" y="178078"/>
                    <a:pt x="215768" y="183956"/>
                    <a:pt x="208592" y="184031"/>
                  </a:cubicBezTo>
                  <a:lnTo>
                    <a:pt x="14784" y="186061"/>
                  </a:lnTo>
                  <a:cubicBezTo>
                    <a:pt x="7609" y="186136"/>
                    <a:pt x="1731" y="180381"/>
                    <a:pt x="1656" y="173205"/>
                  </a:cubicBezTo>
                  <a:lnTo>
                    <a:pt x="1" y="15159"/>
                  </a:lnTo>
                  <a:cubicBezTo>
                    <a:pt x="-74" y="7984"/>
                    <a:pt x="5681" y="2106"/>
                    <a:pt x="12857" y="2031"/>
                  </a:cubicBezTo>
                  <a:lnTo>
                    <a:pt x="206665" y="1"/>
                  </a:lnTo>
                  <a:cubicBezTo>
                    <a:pt x="213840" y="-74"/>
                    <a:pt x="219718" y="5681"/>
                    <a:pt x="219793" y="12857"/>
                  </a:cubicBezTo>
                  <a:lnTo>
                    <a:pt x="221448" y="170903"/>
                  </a:lnTo>
                  <a:close/>
                  <a:moveTo>
                    <a:pt x="104961" y="59696"/>
                  </a:moveTo>
                  <a:cubicBezTo>
                    <a:pt x="104984" y="53371"/>
                    <a:pt x="99874" y="48226"/>
                    <a:pt x="93549" y="48204"/>
                  </a:cubicBezTo>
                  <a:cubicBezTo>
                    <a:pt x="93549" y="48204"/>
                    <a:pt x="93549" y="48204"/>
                    <a:pt x="93549" y="48204"/>
                  </a:cubicBezTo>
                  <a:lnTo>
                    <a:pt x="68234" y="48115"/>
                  </a:lnTo>
                  <a:cubicBezTo>
                    <a:pt x="61909" y="48093"/>
                    <a:pt x="56763" y="53202"/>
                    <a:pt x="56741" y="59527"/>
                  </a:cubicBezTo>
                  <a:cubicBezTo>
                    <a:pt x="56741" y="59528"/>
                    <a:pt x="56741" y="59528"/>
                    <a:pt x="56741" y="59528"/>
                  </a:cubicBezTo>
                  <a:lnTo>
                    <a:pt x="56480" y="134269"/>
                  </a:lnTo>
                  <a:cubicBezTo>
                    <a:pt x="56458" y="140593"/>
                    <a:pt x="61567" y="145739"/>
                    <a:pt x="67892" y="145761"/>
                  </a:cubicBezTo>
                  <a:cubicBezTo>
                    <a:pt x="67892" y="145761"/>
                    <a:pt x="67892" y="145761"/>
                    <a:pt x="67893" y="145761"/>
                  </a:cubicBezTo>
                  <a:lnTo>
                    <a:pt x="93208" y="145850"/>
                  </a:lnTo>
                  <a:cubicBezTo>
                    <a:pt x="99533" y="145872"/>
                    <a:pt x="104678" y="140763"/>
                    <a:pt x="104700" y="134438"/>
                  </a:cubicBezTo>
                  <a:cubicBezTo>
                    <a:pt x="104700" y="134437"/>
                    <a:pt x="104700" y="134437"/>
                    <a:pt x="104700" y="134437"/>
                  </a:cubicBezTo>
                  <a:lnTo>
                    <a:pt x="104961" y="59696"/>
                  </a:lnTo>
                  <a:close/>
                  <a:moveTo>
                    <a:pt x="146756" y="56062"/>
                  </a:moveTo>
                  <a:lnTo>
                    <a:pt x="150506" y="138104"/>
                  </a:lnTo>
                  <a:cubicBezTo>
                    <a:pt x="150578" y="139150"/>
                    <a:pt x="151468" y="139950"/>
                    <a:pt x="152516" y="139912"/>
                  </a:cubicBezTo>
                  <a:lnTo>
                    <a:pt x="155261" y="139845"/>
                  </a:lnTo>
                  <a:cubicBezTo>
                    <a:pt x="166421" y="139368"/>
                    <a:pt x="175059" y="129455"/>
                    <a:pt x="174554" y="117704"/>
                  </a:cubicBezTo>
                  <a:cubicBezTo>
                    <a:pt x="174552" y="117673"/>
                    <a:pt x="174551" y="117641"/>
                    <a:pt x="174549" y="117610"/>
                  </a:cubicBezTo>
                  <a:lnTo>
                    <a:pt x="172540" y="74278"/>
                  </a:lnTo>
                  <a:cubicBezTo>
                    <a:pt x="172008" y="62531"/>
                    <a:pt x="162534" y="53417"/>
                    <a:pt x="151377" y="53919"/>
                  </a:cubicBezTo>
                  <a:lnTo>
                    <a:pt x="148631" y="54053"/>
                  </a:lnTo>
                  <a:cubicBezTo>
                    <a:pt x="147559" y="54089"/>
                    <a:pt x="146719" y="54988"/>
                    <a:pt x="146756" y="56060"/>
                  </a:cubicBezTo>
                  <a:cubicBezTo>
                    <a:pt x="146756" y="56061"/>
                    <a:pt x="146756" y="56062"/>
                    <a:pt x="146756" y="56063"/>
                  </a:cubicBezTo>
                  <a:close/>
                </a:path>
              </a:pathLst>
            </a:custGeom>
            <a:grpFill/>
            <a:ln w="6697" cap="flat">
              <a:noFill/>
              <a:prstDash val="solid"/>
              <a:miter/>
            </a:ln>
          </p:spPr>
          <p:txBody>
            <a:bodyPr rtlCol="0" anchor="ctr"/>
            <a:lstStyle/>
            <a:p>
              <a:endParaRPr lang="fr-FR"/>
            </a:p>
          </p:txBody>
        </p:sp>
        <p:sp>
          <p:nvSpPr>
            <p:cNvPr id="40" name="Free-form: Shape 760">
              <a:extLst>
                <a:ext uri="{FF2B5EF4-FFF2-40B4-BE49-F238E27FC236}">
                  <a16:creationId xmlns:a16="http://schemas.microsoft.com/office/drawing/2014/main" id="{2CF153C5-F015-4883-4D0E-30F01A1AF026}"/>
                </a:ext>
              </a:extLst>
            </p:cNvPr>
            <p:cNvSpPr/>
            <p:nvPr/>
          </p:nvSpPr>
          <p:spPr>
            <a:xfrm>
              <a:off x="8789627" y="1509859"/>
              <a:ext cx="61096" cy="67830"/>
            </a:xfrm>
            <a:custGeom>
              <a:avLst/>
              <a:gdLst>
                <a:gd name="connsiteX0" fmla="*/ 17214 w 180828"/>
                <a:gd name="connsiteY0" fmla="*/ 199888 h 200758"/>
                <a:gd name="connsiteX1" fmla="*/ 6498 w 180828"/>
                <a:gd name="connsiteY1" fmla="*/ 189373 h 200758"/>
                <a:gd name="connsiteX2" fmla="*/ 2 w 180828"/>
                <a:gd name="connsiteY2" fmla="*/ 8480 h 200758"/>
                <a:gd name="connsiteX3" fmla="*/ 6163 w 180828"/>
                <a:gd name="connsiteY3" fmla="*/ 1849 h 200758"/>
                <a:gd name="connsiteX4" fmla="*/ 172724 w 180828"/>
                <a:gd name="connsiteY4" fmla="*/ 4997 h 200758"/>
                <a:gd name="connsiteX5" fmla="*/ 180828 w 180828"/>
                <a:gd name="connsiteY5" fmla="*/ 13971 h 200758"/>
                <a:gd name="connsiteX6" fmla="*/ 179756 w 180828"/>
                <a:gd name="connsiteY6" fmla="*/ 193860 h 200758"/>
                <a:gd name="connsiteX7" fmla="*/ 172657 w 180828"/>
                <a:gd name="connsiteY7" fmla="*/ 200758 h 200758"/>
                <a:gd name="connsiteX8" fmla="*/ 17214 w 180828"/>
                <a:gd name="connsiteY8" fmla="*/ 199888 h 200758"/>
                <a:gd name="connsiteX9" fmla="*/ 117487 w 180828"/>
                <a:gd name="connsiteY9" fmla="*/ 51247 h 200758"/>
                <a:gd name="connsiteX10" fmla="*/ 106210 w 180828"/>
                <a:gd name="connsiteY10" fmla="*/ 40841 h 200758"/>
                <a:gd name="connsiteX11" fmla="*/ 74491 w 180828"/>
                <a:gd name="connsiteY11" fmla="*/ 42115 h 200758"/>
                <a:gd name="connsiteX12" fmla="*/ 64085 w 180828"/>
                <a:gd name="connsiteY12" fmla="*/ 53392 h 200758"/>
                <a:gd name="connsiteX13" fmla="*/ 68031 w 180828"/>
                <a:gd name="connsiteY13" fmla="*/ 151628 h 200758"/>
                <a:gd name="connsiteX14" fmla="*/ 79308 w 180828"/>
                <a:gd name="connsiteY14" fmla="*/ 162034 h 200758"/>
                <a:gd name="connsiteX15" fmla="*/ 111027 w 180828"/>
                <a:gd name="connsiteY15" fmla="*/ 160760 h 200758"/>
                <a:gd name="connsiteX16" fmla="*/ 121432 w 180828"/>
                <a:gd name="connsiteY16" fmla="*/ 149484 h 200758"/>
                <a:gd name="connsiteX17" fmla="*/ 117487 w 180828"/>
                <a:gd name="connsiteY17" fmla="*/ 51247 h 20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828" h="200758">
                  <a:moveTo>
                    <a:pt x="17214" y="199888"/>
                  </a:moveTo>
                  <a:cubicBezTo>
                    <a:pt x="11402" y="199818"/>
                    <a:pt x="6677" y="195182"/>
                    <a:pt x="6498" y="189373"/>
                  </a:cubicBezTo>
                  <a:lnTo>
                    <a:pt x="2" y="8480"/>
                  </a:lnTo>
                  <a:cubicBezTo>
                    <a:pt x="-76" y="4967"/>
                    <a:pt x="2654" y="2030"/>
                    <a:pt x="6163" y="1849"/>
                  </a:cubicBezTo>
                  <a:cubicBezTo>
                    <a:pt x="63804" y="-1410"/>
                    <a:pt x="119324" y="-361"/>
                    <a:pt x="172724" y="4997"/>
                  </a:cubicBezTo>
                  <a:cubicBezTo>
                    <a:pt x="177346" y="5479"/>
                    <a:pt x="180850" y="9359"/>
                    <a:pt x="180828" y="13971"/>
                  </a:cubicBezTo>
                  <a:lnTo>
                    <a:pt x="179756" y="193860"/>
                  </a:lnTo>
                  <a:cubicBezTo>
                    <a:pt x="179667" y="198503"/>
                    <a:pt x="177301" y="200803"/>
                    <a:pt x="172657" y="200758"/>
                  </a:cubicBezTo>
                  <a:lnTo>
                    <a:pt x="17214" y="199888"/>
                  </a:lnTo>
                  <a:close/>
                  <a:moveTo>
                    <a:pt x="117487" y="51247"/>
                  </a:moveTo>
                  <a:cubicBezTo>
                    <a:pt x="117246" y="45260"/>
                    <a:pt x="112198" y="40601"/>
                    <a:pt x="106210" y="40841"/>
                  </a:cubicBezTo>
                  <a:lnTo>
                    <a:pt x="74491" y="42115"/>
                  </a:lnTo>
                  <a:cubicBezTo>
                    <a:pt x="68503" y="42356"/>
                    <a:pt x="63845" y="47405"/>
                    <a:pt x="64085" y="53392"/>
                  </a:cubicBezTo>
                  <a:lnTo>
                    <a:pt x="68031" y="151628"/>
                  </a:lnTo>
                  <a:cubicBezTo>
                    <a:pt x="68272" y="157616"/>
                    <a:pt x="73320" y="162274"/>
                    <a:pt x="79308" y="162034"/>
                  </a:cubicBezTo>
                  <a:lnTo>
                    <a:pt x="111027" y="160760"/>
                  </a:lnTo>
                  <a:cubicBezTo>
                    <a:pt x="117014" y="160520"/>
                    <a:pt x="121673" y="155471"/>
                    <a:pt x="121432" y="149484"/>
                  </a:cubicBezTo>
                  <a:lnTo>
                    <a:pt x="117487" y="51247"/>
                  </a:lnTo>
                  <a:close/>
                </a:path>
              </a:pathLst>
            </a:custGeom>
            <a:grpFill/>
            <a:ln w="6697" cap="flat">
              <a:noFill/>
              <a:prstDash val="solid"/>
              <a:miter/>
            </a:ln>
          </p:spPr>
          <p:txBody>
            <a:bodyPr rtlCol="0" anchor="ctr"/>
            <a:lstStyle/>
            <a:p>
              <a:endParaRPr lang="fr-FR"/>
            </a:p>
          </p:txBody>
        </p:sp>
        <p:sp>
          <p:nvSpPr>
            <p:cNvPr id="41" name="Free-form: Shape 762">
              <a:extLst>
                <a:ext uri="{FF2B5EF4-FFF2-40B4-BE49-F238E27FC236}">
                  <a16:creationId xmlns:a16="http://schemas.microsoft.com/office/drawing/2014/main" id="{5433BD86-C373-5D7D-53A8-CEF038433E82}"/>
                </a:ext>
              </a:extLst>
            </p:cNvPr>
            <p:cNvSpPr/>
            <p:nvPr/>
          </p:nvSpPr>
          <p:spPr>
            <a:xfrm>
              <a:off x="8674613" y="1516801"/>
              <a:ext cx="61993" cy="64844"/>
            </a:xfrm>
            <a:custGeom>
              <a:avLst/>
              <a:gdLst>
                <a:gd name="connsiteX0" fmla="*/ 183483 w 183483"/>
                <a:gd name="connsiteY0" fmla="*/ 184073 h 191920"/>
                <a:gd name="connsiteX1" fmla="*/ 178474 w 183483"/>
                <a:gd name="connsiteY1" fmla="*/ 189242 h 191920"/>
                <a:gd name="connsiteX2" fmla="*/ 7983 w 183483"/>
                <a:gd name="connsiteY2" fmla="*/ 191920 h 191920"/>
                <a:gd name="connsiteX3" fmla="*/ 2814 w 183483"/>
                <a:gd name="connsiteY3" fmla="*/ 186911 h 191920"/>
                <a:gd name="connsiteX4" fmla="*/ 1 w 183483"/>
                <a:gd name="connsiteY4" fmla="*/ 7848 h 191920"/>
                <a:gd name="connsiteX5" fmla="*/ 5010 w 183483"/>
                <a:gd name="connsiteY5" fmla="*/ 2679 h 191920"/>
                <a:gd name="connsiteX6" fmla="*/ 175501 w 183483"/>
                <a:gd name="connsiteY6" fmla="*/ 1 h 191920"/>
                <a:gd name="connsiteX7" fmla="*/ 180670 w 183483"/>
                <a:gd name="connsiteY7" fmla="*/ 5010 h 191920"/>
                <a:gd name="connsiteX8" fmla="*/ 183483 w 183483"/>
                <a:gd name="connsiteY8" fmla="*/ 184073 h 191920"/>
                <a:gd name="connsiteX9" fmla="*/ 114065 w 183483"/>
                <a:gd name="connsiteY9" fmla="*/ 52029 h 191920"/>
                <a:gd name="connsiteX10" fmla="*/ 104737 w 183483"/>
                <a:gd name="connsiteY10" fmla="*/ 43146 h 191920"/>
                <a:gd name="connsiteX11" fmla="*/ 72734 w 183483"/>
                <a:gd name="connsiteY11" fmla="*/ 43928 h 191920"/>
                <a:gd name="connsiteX12" fmla="*/ 63851 w 183483"/>
                <a:gd name="connsiteY12" fmla="*/ 53256 h 191920"/>
                <a:gd name="connsiteX13" fmla="*/ 66070 w 183483"/>
                <a:gd name="connsiteY13" fmla="*/ 144044 h 191920"/>
                <a:gd name="connsiteX14" fmla="*/ 75398 w 183483"/>
                <a:gd name="connsiteY14" fmla="*/ 152928 h 191920"/>
                <a:gd name="connsiteX15" fmla="*/ 107401 w 183483"/>
                <a:gd name="connsiteY15" fmla="*/ 152145 h 191920"/>
                <a:gd name="connsiteX16" fmla="*/ 116284 w 183483"/>
                <a:gd name="connsiteY16" fmla="*/ 142817 h 191920"/>
                <a:gd name="connsiteX17" fmla="*/ 114065 w 183483"/>
                <a:gd name="connsiteY17" fmla="*/ 52029 h 19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483" h="191920">
                  <a:moveTo>
                    <a:pt x="183483" y="184073"/>
                  </a:moveTo>
                  <a:cubicBezTo>
                    <a:pt x="183527" y="186883"/>
                    <a:pt x="181285" y="189198"/>
                    <a:pt x="178474" y="189242"/>
                  </a:cubicBezTo>
                  <a:lnTo>
                    <a:pt x="7983" y="191920"/>
                  </a:lnTo>
                  <a:cubicBezTo>
                    <a:pt x="5172" y="191964"/>
                    <a:pt x="2858" y="189721"/>
                    <a:pt x="2814" y="186911"/>
                  </a:cubicBezTo>
                  <a:lnTo>
                    <a:pt x="1" y="7848"/>
                  </a:lnTo>
                  <a:cubicBezTo>
                    <a:pt x="-44" y="5037"/>
                    <a:pt x="2199" y="2723"/>
                    <a:pt x="5010" y="2679"/>
                  </a:cubicBezTo>
                  <a:lnTo>
                    <a:pt x="175501" y="1"/>
                  </a:lnTo>
                  <a:cubicBezTo>
                    <a:pt x="178312" y="-44"/>
                    <a:pt x="180626" y="2199"/>
                    <a:pt x="180670" y="5010"/>
                  </a:cubicBezTo>
                  <a:lnTo>
                    <a:pt x="183483" y="184073"/>
                  </a:lnTo>
                  <a:close/>
                  <a:moveTo>
                    <a:pt x="114065" y="52029"/>
                  </a:moveTo>
                  <a:cubicBezTo>
                    <a:pt x="113942" y="47000"/>
                    <a:pt x="109766" y="43023"/>
                    <a:pt x="104737" y="43146"/>
                  </a:cubicBezTo>
                  <a:lnTo>
                    <a:pt x="72734" y="43928"/>
                  </a:lnTo>
                  <a:cubicBezTo>
                    <a:pt x="67705" y="44051"/>
                    <a:pt x="63728" y="48228"/>
                    <a:pt x="63851" y="53256"/>
                  </a:cubicBezTo>
                  <a:lnTo>
                    <a:pt x="66070" y="144044"/>
                  </a:lnTo>
                  <a:cubicBezTo>
                    <a:pt x="66193" y="149073"/>
                    <a:pt x="70369" y="153050"/>
                    <a:pt x="75398" y="152928"/>
                  </a:cubicBezTo>
                  <a:lnTo>
                    <a:pt x="107401" y="152145"/>
                  </a:lnTo>
                  <a:cubicBezTo>
                    <a:pt x="112430" y="152022"/>
                    <a:pt x="116407" y="147846"/>
                    <a:pt x="116284" y="142817"/>
                  </a:cubicBezTo>
                  <a:lnTo>
                    <a:pt x="114065" y="52029"/>
                  </a:lnTo>
                  <a:close/>
                </a:path>
              </a:pathLst>
            </a:custGeom>
            <a:grpFill/>
            <a:ln w="6697" cap="flat">
              <a:noFill/>
              <a:prstDash val="solid"/>
              <a:miter/>
            </a:ln>
          </p:spPr>
          <p:txBody>
            <a:bodyPr rtlCol="0" anchor="ctr"/>
            <a:lstStyle/>
            <a:p>
              <a:endParaRPr lang="fr-FR"/>
            </a:p>
          </p:txBody>
        </p:sp>
        <p:sp>
          <p:nvSpPr>
            <p:cNvPr id="42" name="Free-form: Shape 763">
              <a:extLst>
                <a:ext uri="{FF2B5EF4-FFF2-40B4-BE49-F238E27FC236}">
                  <a16:creationId xmlns:a16="http://schemas.microsoft.com/office/drawing/2014/main" id="{82CF1ECE-DF24-6076-ED0D-69384E9DAD3D}"/>
                </a:ext>
              </a:extLst>
            </p:cNvPr>
            <p:cNvSpPr/>
            <p:nvPr/>
          </p:nvSpPr>
          <p:spPr>
            <a:xfrm>
              <a:off x="8543662" y="1522182"/>
              <a:ext cx="75883" cy="60801"/>
            </a:xfrm>
            <a:custGeom>
              <a:avLst/>
              <a:gdLst>
                <a:gd name="connsiteX0" fmla="*/ 203798 w 224594"/>
                <a:gd name="connsiteY0" fmla="*/ 178817 h 179955"/>
                <a:gd name="connsiteX1" fmla="*/ 11318 w 224594"/>
                <a:gd name="connsiteY1" fmla="*/ 179956 h 179955"/>
                <a:gd name="connsiteX2" fmla="*/ 0 w 224594"/>
                <a:gd name="connsiteY2" fmla="*/ 168838 h 179955"/>
                <a:gd name="connsiteX3" fmla="*/ 0 w 224594"/>
                <a:gd name="connsiteY3" fmla="*/ 168771 h 179955"/>
                <a:gd name="connsiteX4" fmla="*/ 0 w 224594"/>
                <a:gd name="connsiteY4" fmla="*/ 14534 h 179955"/>
                <a:gd name="connsiteX5" fmla="*/ 13261 w 224594"/>
                <a:gd name="connsiteY5" fmla="*/ 1206 h 179955"/>
                <a:gd name="connsiteX6" fmla="*/ 218867 w 224594"/>
                <a:gd name="connsiteY6" fmla="*/ 0 h 179955"/>
                <a:gd name="connsiteX7" fmla="*/ 224594 w 224594"/>
                <a:gd name="connsiteY7" fmla="*/ 5712 h 179955"/>
                <a:gd name="connsiteX8" fmla="*/ 224492 w 224594"/>
                <a:gd name="connsiteY8" fmla="*/ 6832 h 179955"/>
                <a:gd name="connsiteX9" fmla="*/ 211634 w 224594"/>
                <a:gd name="connsiteY9" fmla="*/ 147474 h 179955"/>
                <a:gd name="connsiteX10" fmla="*/ 207682 w 224594"/>
                <a:gd name="connsiteY10" fmla="*/ 175670 h 179955"/>
                <a:gd name="connsiteX11" fmla="*/ 203798 w 224594"/>
                <a:gd name="connsiteY11" fmla="*/ 178817 h 179955"/>
                <a:gd name="connsiteX12" fmla="*/ 60209 w 224594"/>
                <a:gd name="connsiteY12" fmla="*/ 132338 h 179955"/>
                <a:gd name="connsiteX13" fmla="*/ 93025 w 224594"/>
                <a:gd name="connsiteY13" fmla="*/ 133276 h 179955"/>
                <a:gd name="connsiteX14" fmla="*/ 97511 w 224594"/>
                <a:gd name="connsiteY14" fmla="*/ 129059 h 179955"/>
                <a:gd name="connsiteX15" fmla="*/ 97512 w 224594"/>
                <a:gd name="connsiteY15" fmla="*/ 128990 h 179955"/>
                <a:gd name="connsiteX16" fmla="*/ 98986 w 224594"/>
                <a:gd name="connsiteY16" fmla="*/ 76349 h 179955"/>
                <a:gd name="connsiteX17" fmla="*/ 88739 w 224594"/>
                <a:gd name="connsiteY17" fmla="*/ 48555 h 179955"/>
                <a:gd name="connsiteX18" fmla="*/ 69317 w 224594"/>
                <a:gd name="connsiteY18" fmla="*/ 48020 h 179955"/>
                <a:gd name="connsiteX19" fmla="*/ 57466 w 224594"/>
                <a:gd name="connsiteY19" fmla="*/ 75055 h 179955"/>
                <a:gd name="connsiteX20" fmla="*/ 57463 w 224594"/>
                <a:gd name="connsiteY20" fmla="*/ 75144 h 179955"/>
                <a:gd name="connsiteX21" fmla="*/ 55989 w 224594"/>
                <a:gd name="connsiteY21" fmla="*/ 127851 h 179955"/>
                <a:gd name="connsiteX22" fmla="*/ 60205 w 224594"/>
                <a:gd name="connsiteY22" fmla="*/ 132338 h 179955"/>
                <a:gd name="connsiteX23" fmla="*/ 60209 w 224594"/>
                <a:gd name="connsiteY23" fmla="*/ 132338 h 179955"/>
                <a:gd name="connsiteX24" fmla="*/ 182514 w 224594"/>
                <a:gd name="connsiteY24" fmla="*/ 65962 h 179955"/>
                <a:gd name="connsiteX25" fmla="*/ 164988 w 224594"/>
                <a:gd name="connsiteY25" fmla="*/ 50181 h 179955"/>
                <a:gd name="connsiteX26" fmla="*/ 163249 w 224594"/>
                <a:gd name="connsiteY26" fmla="*/ 50273 h 179955"/>
                <a:gd name="connsiteX27" fmla="*/ 147468 w 224594"/>
                <a:gd name="connsiteY27" fmla="*/ 67799 h 179955"/>
                <a:gd name="connsiteX28" fmla="*/ 150609 w 224594"/>
                <a:gd name="connsiteY28" fmla="*/ 127724 h 179955"/>
                <a:gd name="connsiteX29" fmla="*/ 168135 w 224594"/>
                <a:gd name="connsiteY29" fmla="*/ 143505 h 179955"/>
                <a:gd name="connsiteX30" fmla="*/ 169874 w 224594"/>
                <a:gd name="connsiteY30" fmla="*/ 143413 h 179955"/>
                <a:gd name="connsiteX31" fmla="*/ 185655 w 224594"/>
                <a:gd name="connsiteY31" fmla="*/ 125887 h 179955"/>
                <a:gd name="connsiteX32" fmla="*/ 182514 w 224594"/>
                <a:gd name="connsiteY32" fmla="*/ 65962 h 179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594" h="179955">
                  <a:moveTo>
                    <a:pt x="203798" y="178817"/>
                  </a:moveTo>
                  <a:lnTo>
                    <a:pt x="11318" y="179956"/>
                  </a:lnTo>
                  <a:cubicBezTo>
                    <a:pt x="5105" y="179993"/>
                    <a:pt x="37" y="175015"/>
                    <a:pt x="0" y="168838"/>
                  </a:cubicBezTo>
                  <a:cubicBezTo>
                    <a:pt x="0" y="168816"/>
                    <a:pt x="0" y="168793"/>
                    <a:pt x="0" y="168771"/>
                  </a:cubicBezTo>
                  <a:lnTo>
                    <a:pt x="0" y="14534"/>
                  </a:lnTo>
                  <a:cubicBezTo>
                    <a:pt x="0" y="5738"/>
                    <a:pt x="4420" y="1295"/>
                    <a:pt x="13261" y="1206"/>
                  </a:cubicBezTo>
                  <a:lnTo>
                    <a:pt x="218867" y="0"/>
                  </a:lnTo>
                  <a:cubicBezTo>
                    <a:pt x="222011" y="-26"/>
                    <a:pt x="224575" y="2531"/>
                    <a:pt x="224594" y="5712"/>
                  </a:cubicBezTo>
                  <a:cubicBezTo>
                    <a:pt x="224596" y="6088"/>
                    <a:pt x="224562" y="6462"/>
                    <a:pt x="224492" y="6832"/>
                  </a:cubicBezTo>
                  <a:cubicBezTo>
                    <a:pt x="216188" y="50900"/>
                    <a:pt x="211902" y="97781"/>
                    <a:pt x="211634" y="147474"/>
                  </a:cubicBezTo>
                  <a:cubicBezTo>
                    <a:pt x="211589" y="153635"/>
                    <a:pt x="210272" y="163034"/>
                    <a:pt x="207682" y="175670"/>
                  </a:cubicBezTo>
                  <a:cubicBezTo>
                    <a:pt x="207236" y="177768"/>
                    <a:pt x="205941" y="178817"/>
                    <a:pt x="203798" y="178817"/>
                  </a:cubicBezTo>
                  <a:close/>
                  <a:moveTo>
                    <a:pt x="60209" y="132338"/>
                  </a:moveTo>
                  <a:lnTo>
                    <a:pt x="93025" y="133276"/>
                  </a:lnTo>
                  <a:cubicBezTo>
                    <a:pt x="95428" y="133350"/>
                    <a:pt x="97437" y="131462"/>
                    <a:pt x="97511" y="129059"/>
                  </a:cubicBezTo>
                  <a:cubicBezTo>
                    <a:pt x="97511" y="129036"/>
                    <a:pt x="97512" y="129013"/>
                    <a:pt x="97512" y="128990"/>
                  </a:cubicBezTo>
                  <a:lnTo>
                    <a:pt x="98986" y="76349"/>
                  </a:lnTo>
                  <a:cubicBezTo>
                    <a:pt x="99417" y="61206"/>
                    <a:pt x="94832" y="48769"/>
                    <a:pt x="88739" y="48555"/>
                  </a:cubicBezTo>
                  <a:lnTo>
                    <a:pt x="69317" y="48020"/>
                  </a:lnTo>
                  <a:cubicBezTo>
                    <a:pt x="63218" y="47792"/>
                    <a:pt x="57912" y="59896"/>
                    <a:pt x="57466" y="75055"/>
                  </a:cubicBezTo>
                  <a:cubicBezTo>
                    <a:pt x="57465" y="75084"/>
                    <a:pt x="57464" y="75114"/>
                    <a:pt x="57463" y="75144"/>
                  </a:cubicBezTo>
                  <a:lnTo>
                    <a:pt x="55989" y="127851"/>
                  </a:lnTo>
                  <a:cubicBezTo>
                    <a:pt x="55914" y="130254"/>
                    <a:pt x="57802" y="132263"/>
                    <a:pt x="60205" y="132338"/>
                  </a:cubicBezTo>
                  <a:cubicBezTo>
                    <a:pt x="60206" y="132338"/>
                    <a:pt x="60208" y="132338"/>
                    <a:pt x="60209" y="132338"/>
                  </a:cubicBezTo>
                  <a:close/>
                  <a:moveTo>
                    <a:pt x="182514" y="65962"/>
                  </a:moveTo>
                  <a:cubicBezTo>
                    <a:pt x="182032" y="56764"/>
                    <a:pt x="174185" y="49699"/>
                    <a:pt x="164988" y="50181"/>
                  </a:cubicBezTo>
                  <a:lnTo>
                    <a:pt x="163249" y="50273"/>
                  </a:lnTo>
                  <a:cubicBezTo>
                    <a:pt x="154051" y="50755"/>
                    <a:pt x="146986" y="58601"/>
                    <a:pt x="147468" y="67799"/>
                  </a:cubicBezTo>
                  <a:lnTo>
                    <a:pt x="150609" y="127724"/>
                  </a:lnTo>
                  <a:cubicBezTo>
                    <a:pt x="151091" y="136921"/>
                    <a:pt x="158937" y="143987"/>
                    <a:pt x="168135" y="143505"/>
                  </a:cubicBezTo>
                  <a:lnTo>
                    <a:pt x="169874" y="143413"/>
                  </a:lnTo>
                  <a:cubicBezTo>
                    <a:pt x="179071" y="142931"/>
                    <a:pt x="186136" y="135084"/>
                    <a:pt x="185655" y="125887"/>
                  </a:cubicBezTo>
                  <a:lnTo>
                    <a:pt x="182514" y="65962"/>
                  </a:lnTo>
                  <a:close/>
                </a:path>
              </a:pathLst>
            </a:custGeom>
            <a:grpFill/>
            <a:ln w="6697" cap="flat">
              <a:noFill/>
              <a:prstDash val="solid"/>
              <a:miter/>
            </a:ln>
          </p:spPr>
          <p:txBody>
            <a:bodyPr rtlCol="0" anchor="ctr"/>
            <a:lstStyle/>
            <a:p>
              <a:endParaRPr lang="fr-FR"/>
            </a:p>
          </p:txBody>
        </p:sp>
        <p:sp>
          <p:nvSpPr>
            <p:cNvPr id="43" name="Free-form: Shape 769">
              <a:extLst>
                <a:ext uri="{FF2B5EF4-FFF2-40B4-BE49-F238E27FC236}">
                  <a16:creationId xmlns:a16="http://schemas.microsoft.com/office/drawing/2014/main" id="{E16AB979-241F-2ED5-A840-B6780AD76A55}"/>
                </a:ext>
              </a:extLst>
            </p:cNvPr>
            <p:cNvSpPr/>
            <p:nvPr/>
          </p:nvSpPr>
          <p:spPr>
            <a:xfrm>
              <a:off x="8427015" y="1531482"/>
              <a:ext cx="61955" cy="63495"/>
            </a:xfrm>
            <a:custGeom>
              <a:avLst/>
              <a:gdLst>
                <a:gd name="connsiteX0" fmla="*/ 183371 w 183371"/>
                <a:gd name="connsiteY0" fmla="*/ 184712 h 187930"/>
                <a:gd name="connsiteX1" fmla="*/ 181764 w 183371"/>
                <a:gd name="connsiteY1" fmla="*/ 186319 h 187930"/>
                <a:gd name="connsiteX2" fmla="*/ 29535 w 183371"/>
                <a:gd name="connsiteY2" fmla="*/ 187927 h 187930"/>
                <a:gd name="connsiteX3" fmla="*/ 1608 w 183371"/>
                <a:gd name="connsiteY3" fmla="*/ 173510 h 187930"/>
                <a:gd name="connsiteX4" fmla="*/ 1608 w 183371"/>
                <a:gd name="connsiteY4" fmla="*/ 173460 h 187930"/>
                <a:gd name="connsiteX5" fmla="*/ 0 w 183371"/>
                <a:gd name="connsiteY5" fmla="*/ 16610 h 187930"/>
                <a:gd name="connsiteX6" fmla="*/ 27526 w 183371"/>
                <a:gd name="connsiteY6" fmla="*/ 1609 h 187930"/>
                <a:gd name="connsiteX7" fmla="*/ 179822 w 183371"/>
                <a:gd name="connsiteY7" fmla="*/ 1 h 187930"/>
                <a:gd name="connsiteX8" fmla="*/ 181495 w 183371"/>
                <a:gd name="connsiteY8" fmla="*/ 1540 h 187930"/>
                <a:gd name="connsiteX9" fmla="*/ 181496 w 183371"/>
                <a:gd name="connsiteY9" fmla="*/ 1609 h 187930"/>
                <a:gd name="connsiteX10" fmla="*/ 183371 w 183371"/>
                <a:gd name="connsiteY10" fmla="*/ 184712 h 187930"/>
                <a:gd name="connsiteX11" fmla="*/ 119106 w 183371"/>
                <a:gd name="connsiteY11" fmla="*/ 55148 h 187930"/>
                <a:gd name="connsiteX12" fmla="*/ 108567 w 183371"/>
                <a:gd name="connsiteY12" fmla="*/ 44792 h 187930"/>
                <a:gd name="connsiteX13" fmla="*/ 108567 w 183371"/>
                <a:gd name="connsiteY13" fmla="*/ 44792 h 187930"/>
                <a:gd name="connsiteX14" fmla="*/ 74144 w 183371"/>
                <a:gd name="connsiteY14" fmla="*/ 45092 h 187930"/>
                <a:gd name="connsiteX15" fmla="*/ 63788 w 183371"/>
                <a:gd name="connsiteY15" fmla="*/ 55631 h 187930"/>
                <a:gd name="connsiteX16" fmla="*/ 63788 w 183371"/>
                <a:gd name="connsiteY16" fmla="*/ 55631 h 187930"/>
                <a:gd name="connsiteX17" fmla="*/ 64534 w 183371"/>
                <a:gd name="connsiteY17" fmla="*/ 141085 h 187930"/>
                <a:gd name="connsiteX18" fmla="*/ 75073 w 183371"/>
                <a:gd name="connsiteY18" fmla="*/ 151441 h 187930"/>
                <a:gd name="connsiteX19" fmla="*/ 75073 w 183371"/>
                <a:gd name="connsiteY19" fmla="*/ 151441 h 187930"/>
                <a:gd name="connsiteX20" fmla="*/ 109495 w 183371"/>
                <a:gd name="connsiteY20" fmla="*/ 151140 h 187930"/>
                <a:gd name="connsiteX21" fmla="*/ 119851 w 183371"/>
                <a:gd name="connsiteY21" fmla="*/ 140601 h 187930"/>
                <a:gd name="connsiteX22" fmla="*/ 119851 w 183371"/>
                <a:gd name="connsiteY22" fmla="*/ 140601 h 187930"/>
                <a:gd name="connsiteX23" fmla="*/ 119106 w 183371"/>
                <a:gd name="connsiteY23" fmla="*/ 55148 h 18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3371" h="187930">
                  <a:moveTo>
                    <a:pt x="183371" y="184712"/>
                  </a:moveTo>
                  <a:cubicBezTo>
                    <a:pt x="183371" y="185600"/>
                    <a:pt x="182652" y="186319"/>
                    <a:pt x="181764" y="186319"/>
                  </a:cubicBezTo>
                  <a:lnTo>
                    <a:pt x="29535" y="187927"/>
                  </a:lnTo>
                  <a:cubicBezTo>
                    <a:pt x="14223" y="188101"/>
                    <a:pt x="1720" y="181646"/>
                    <a:pt x="1608" y="173510"/>
                  </a:cubicBezTo>
                  <a:cubicBezTo>
                    <a:pt x="1608" y="173493"/>
                    <a:pt x="1608" y="173477"/>
                    <a:pt x="1608" y="173460"/>
                  </a:cubicBezTo>
                  <a:lnTo>
                    <a:pt x="0" y="16610"/>
                  </a:lnTo>
                  <a:cubicBezTo>
                    <a:pt x="-63" y="8491"/>
                    <a:pt x="12247" y="1782"/>
                    <a:pt x="27526" y="1609"/>
                  </a:cubicBezTo>
                  <a:lnTo>
                    <a:pt x="179822" y="1"/>
                  </a:lnTo>
                  <a:cubicBezTo>
                    <a:pt x="180709" y="-35"/>
                    <a:pt x="181458" y="653"/>
                    <a:pt x="181495" y="1540"/>
                  </a:cubicBezTo>
                  <a:cubicBezTo>
                    <a:pt x="181496" y="1563"/>
                    <a:pt x="181496" y="1586"/>
                    <a:pt x="181496" y="1609"/>
                  </a:cubicBezTo>
                  <a:lnTo>
                    <a:pt x="183371" y="184712"/>
                  </a:lnTo>
                  <a:close/>
                  <a:moveTo>
                    <a:pt x="119106" y="55148"/>
                  </a:moveTo>
                  <a:cubicBezTo>
                    <a:pt x="119056" y="49378"/>
                    <a:pt x="114337" y="44742"/>
                    <a:pt x="108567" y="44792"/>
                  </a:cubicBezTo>
                  <a:cubicBezTo>
                    <a:pt x="108567" y="44792"/>
                    <a:pt x="108567" y="44792"/>
                    <a:pt x="108567" y="44792"/>
                  </a:cubicBezTo>
                  <a:lnTo>
                    <a:pt x="74144" y="45092"/>
                  </a:lnTo>
                  <a:cubicBezTo>
                    <a:pt x="68375" y="45142"/>
                    <a:pt x="63738" y="49861"/>
                    <a:pt x="63788" y="55631"/>
                  </a:cubicBezTo>
                  <a:cubicBezTo>
                    <a:pt x="63788" y="55631"/>
                    <a:pt x="63788" y="55631"/>
                    <a:pt x="63788" y="55631"/>
                  </a:cubicBezTo>
                  <a:lnTo>
                    <a:pt x="64534" y="141085"/>
                  </a:lnTo>
                  <a:cubicBezTo>
                    <a:pt x="64584" y="146854"/>
                    <a:pt x="69302" y="151491"/>
                    <a:pt x="75073" y="151441"/>
                  </a:cubicBezTo>
                  <a:cubicBezTo>
                    <a:pt x="75073" y="151441"/>
                    <a:pt x="75073" y="151441"/>
                    <a:pt x="75073" y="151441"/>
                  </a:cubicBezTo>
                  <a:lnTo>
                    <a:pt x="109495" y="151140"/>
                  </a:lnTo>
                  <a:cubicBezTo>
                    <a:pt x="115265" y="151090"/>
                    <a:pt x="119901" y="146372"/>
                    <a:pt x="119851" y="140601"/>
                  </a:cubicBezTo>
                  <a:cubicBezTo>
                    <a:pt x="119851" y="140601"/>
                    <a:pt x="119851" y="140601"/>
                    <a:pt x="119851" y="140601"/>
                  </a:cubicBezTo>
                  <a:lnTo>
                    <a:pt x="119106" y="55148"/>
                  </a:lnTo>
                  <a:close/>
                </a:path>
              </a:pathLst>
            </a:custGeom>
            <a:grpFill/>
            <a:ln w="6697" cap="flat">
              <a:noFill/>
              <a:prstDash val="solid"/>
              <a:miter/>
            </a:ln>
          </p:spPr>
          <p:txBody>
            <a:bodyPr rtlCol="0" anchor="ctr"/>
            <a:lstStyle/>
            <a:p>
              <a:endParaRPr lang="fr-FR"/>
            </a:p>
          </p:txBody>
        </p:sp>
        <p:sp>
          <p:nvSpPr>
            <p:cNvPr id="44" name="Free-form: Shape 786">
              <a:extLst>
                <a:ext uri="{FF2B5EF4-FFF2-40B4-BE49-F238E27FC236}">
                  <a16:creationId xmlns:a16="http://schemas.microsoft.com/office/drawing/2014/main" id="{9508C9F0-BAAF-B387-9313-5851C27129B0}"/>
                </a:ext>
              </a:extLst>
            </p:cNvPr>
            <p:cNvSpPr/>
            <p:nvPr/>
          </p:nvSpPr>
          <p:spPr>
            <a:xfrm>
              <a:off x="8790345" y="1592917"/>
              <a:ext cx="60400" cy="63585"/>
            </a:xfrm>
            <a:custGeom>
              <a:avLst/>
              <a:gdLst>
                <a:gd name="connsiteX0" fmla="*/ 7788 w 178769"/>
                <a:gd name="connsiteY0" fmla="*/ 176608 h 188194"/>
                <a:gd name="connsiteX1" fmla="*/ 19 w 178769"/>
                <a:gd name="connsiteY1" fmla="*/ 12927 h 188194"/>
                <a:gd name="connsiteX2" fmla="*/ 7721 w 178769"/>
                <a:gd name="connsiteY2" fmla="*/ 4020 h 188194"/>
                <a:gd name="connsiteX3" fmla="*/ 174617 w 178769"/>
                <a:gd name="connsiteY3" fmla="*/ 3752 h 188194"/>
                <a:gd name="connsiteX4" fmla="*/ 178769 w 178769"/>
                <a:gd name="connsiteY4" fmla="*/ 8306 h 188194"/>
                <a:gd name="connsiteX5" fmla="*/ 178769 w 178769"/>
                <a:gd name="connsiteY5" fmla="*/ 180760 h 188194"/>
                <a:gd name="connsiteX6" fmla="*/ 171335 w 178769"/>
                <a:gd name="connsiteY6" fmla="*/ 188194 h 188194"/>
                <a:gd name="connsiteX7" fmla="*/ 19977 w 178769"/>
                <a:gd name="connsiteY7" fmla="*/ 188195 h 188194"/>
                <a:gd name="connsiteX8" fmla="*/ 7788 w 178769"/>
                <a:gd name="connsiteY8" fmla="*/ 176608 h 188194"/>
                <a:gd name="connsiteX9" fmla="*/ 74694 w 178769"/>
                <a:gd name="connsiteY9" fmla="*/ 148546 h 188194"/>
                <a:gd name="connsiteX10" fmla="*/ 109117 w 178769"/>
                <a:gd name="connsiteY10" fmla="*/ 148413 h 188194"/>
                <a:gd name="connsiteX11" fmla="*/ 116284 w 178769"/>
                <a:gd name="connsiteY11" fmla="*/ 141247 h 188194"/>
                <a:gd name="connsiteX12" fmla="*/ 116283 w 178769"/>
                <a:gd name="connsiteY12" fmla="*/ 141180 h 188194"/>
                <a:gd name="connsiteX13" fmla="*/ 115882 w 178769"/>
                <a:gd name="connsiteY13" fmla="*/ 66773 h 188194"/>
                <a:gd name="connsiteX14" fmla="*/ 108917 w 178769"/>
                <a:gd name="connsiteY14" fmla="*/ 40453 h 188194"/>
                <a:gd name="connsiteX15" fmla="*/ 73823 w 178769"/>
                <a:gd name="connsiteY15" fmla="*/ 40587 h 188194"/>
                <a:gd name="connsiteX16" fmla="*/ 67125 w 178769"/>
                <a:gd name="connsiteY16" fmla="*/ 66992 h 188194"/>
                <a:gd name="connsiteX17" fmla="*/ 67126 w 178769"/>
                <a:gd name="connsiteY17" fmla="*/ 67041 h 188194"/>
                <a:gd name="connsiteX18" fmla="*/ 67528 w 178769"/>
                <a:gd name="connsiteY18" fmla="*/ 141447 h 188194"/>
                <a:gd name="connsiteX19" fmla="*/ 74694 w 178769"/>
                <a:gd name="connsiteY19" fmla="*/ 148546 h 18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769" h="188194">
                  <a:moveTo>
                    <a:pt x="7788" y="176608"/>
                  </a:moveTo>
                  <a:lnTo>
                    <a:pt x="19" y="12927"/>
                  </a:lnTo>
                  <a:cubicBezTo>
                    <a:pt x="-249" y="7480"/>
                    <a:pt x="2318" y="4511"/>
                    <a:pt x="7721" y="4020"/>
                  </a:cubicBezTo>
                  <a:cubicBezTo>
                    <a:pt x="65094" y="-1249"/>
                    <a:pt x="120726" y="-1338"/>
                    <a:pt x="174617" y="3752"/>
                  </a:cubicBezTo>
                  <a:cubicBezTo>
                    <a:pt x="176982" y="3992"/>
                    <a:pt x="178778" y="5963"/>
                    <a:pt x="178769" y="8306"/>
                  </a:cubicBezTo>
                  <a:lnTo>
                    <a:pt x="178769" y="180760"/>
                  </a:lnTo>
                  <a:cubicBezTo>
                    <a:pt x="178769" y="184866"/>
                    <a:pt x="175441" y="188194"/>
                    <a:pt x="171335" y="188194"/>
                  </a:cubicBezTo>
                  <a:lnTo>
                    <a:pt x="19977" y="188195"/>
                  </a:lnTo>
                  <a:cubicBezTo>
                    <a:pt x="13474" y="188202"/>
                    <a:pt x="8109" y="183104"/>
                    <a:pt x="7788" y="176608"/>
                  </a:cubicBezTo>
                  <a:close/>
                  <a:moveTo>
                    <a:pt x="74694" y="148546"/>
                  </a:moveTo>
                  <a:lnTo>
                    <a:pt x="109117" y="148413"/>
                  </a:lnTo>
                  <a:cubicBezTo>
                    <a:pt x="113075" y="148413"/>
                    <a:pt x="116283" y="145205"/>
                    <a:pt x="116284" y="141247"/>
                  </a:cubicBezTo>
                  <a:cubicBezTo>
                    <a:pt x="116284" y="141225"/>
                    <a:pt x="116284" y="141202"/>
                    <a:pt x="116283" y="141180"/>
                  </a:cubicBezTo>
                  <a:lnTo>
                    <a:pt x="115882" y="66773"/>
                  </a:lnTo>
                  <a:cubicBezTo>
                    <a:pt x="115801" y="52218"/>
                    <a:pt x="112685" y="40441"/>
                    <a:pt x="108917" y="40453"/>
                  </a:cubicBezTo>
                  <a:lnTo>
                    <a:pt x="73823" y="40587"/>
                  </a:lnTo>
                  <a:cubicBezTo>
                    <a:pt x="70050" y="40597"/>
                    <a:pt x="67052" y="52419"/>
                    <a:pt x="67125" y="66992"/>
                  </a:cubicBezTo>
                  <a:cubicBezTo>
                    <a:pt x="67125" y="67008"/>
                    <a:pt x="67125" y="67024"/>
                    <a:pt x="67126" y="67041"/>
                  </a:cubicBezTo>
                  <a:lnTo>
                    <a:pt x="67528" y="141447"/>
                  </a:lnTo>
                  <a:cubicBezTo>
                    <a:pt x="67564" y="145379"/>
                    <a:pt x="70762" y="148546"/>
                    <a:pt x="74694" y="148546"/>
                  </a:cubicBezTo>
                  <a:close/>
                </a:path>
              </a:pathLst>
            </a:custGeom>
            <a:grpFill/>
            <a:ln w="6697" cap="flat">
              <a:noFill/>
              <a:prstDash val="solid"/>
              <a:miter/>
            </a:ln>
          </p:spPr>
          <p:txBody>
            <a:bodyPr rtlCol="0" anchor="ctr"/>
            <a:lstStyle/>
            <a:p>
              <a:endParaRPr lang="fr-FR"/>
            </a:p>
          </p:txBody>
        </p:sp>
        <p:sp>
          <p:nvSpPr>
            <p:cNvPr id="45" name="Free-form: Shape 787">
              <a:extLst>
                <a:ext uri="{FF2B5EF4-FFF2-40B4-BE49-F238E27FC236}">
                  <a16:creationId xmlns:a16="http://schemas.microsoft.com/office/drawing/2014/main" id="{BA332A0F-0777-8418-F611-222D4C2166B5}"/>
                </a:ext>
              </a:extLst>
            </p:cNvPr>
            <p:cNvSpPr/>
            <p:nvPr/>
          </p:nvSpPr>
          <p:spPr>
            <a:xfrm>
              <a:off x="8674361" y="1594833"/>
              <a:ext cx="62543" cy="66394"/>
            </a:xfrm>
            <a:custGeom>
              <a:avLst/>
              <a:gdLst>
                <a:gd name="connsiteX0" fmla="*/ 113385 w 185112"/>
                <a:gd name="connsiteY0" fmla="*/ 187613 h 196510"/>
                <a:gd name="connsiteX1" fmla="*/ 115729 w 185112"/>
                <a:gd name="connsiteY1" fmla="*/ 179308 h 196510"/>
                <a:gd name="connsiteX2" fmla="*/ 118475 w 185112"/>
                <a:gd name="connsiteY2" fmla="*/ 174754 h 196510"/>
                <a:gd name="connsiteX3" fmla="*/ 118073 w 185112"/>
                <a:gd name="connsiteY3" fmla="*/ 169128 h 196510"/>
                <a:gd name="connsiteX4" fmla="*/ 117202 w 185112"/>
                <a:gd name="connsiteY4" fmla="*/ 52261 h 196510"/>
                <a:gd name="connsiteX5" fmla="*/ 110639 w 185112"/>
                <a:gd name="connsiteY5" fmla="*/ 46033 h 196510"/>
                <a:gd name="connsiteX6" fmla="*/ 76751 w 185112"/>
                <a:gd name="connsiteY6" fmla="*/ 47640 h 196510"/>
                <a:gd name="connsiteX7" fmla="*/ 69384 w 185112"/>
                <a:gd name="connsiteY7" fmla="*/ 54739 h 196510"/>
                <a:gd name="connsiteX8" fmla="*/ 71929 w 185112"/>
                <a:gd name="connsiteY8" fmla="*/ 166985 h 196510"/>
                <a:gd name="connsiteX9" fmla="*/ 66169 w 185112"/>
                <a:gd name="connsiteY9" fmla="*/ 186541 h 196510"/>
                <a:gd name="connsiteX10" fmla="*/ 6028 w 185112"/>
                <a:gd name="connsiteY10" fmla="*/ 188751 h 196510"/>
                <a:gd name="connsiteX11" fmla="*/ 7 w 185112"/>
                <a:gd name="connsiteY11" fmla="*/ 183199 h 196510"/>
                <a:gd name="connsiteX12" fmla="*/ 0 w 185112"/>
                <a:gd name="connsiteY12" fmla="*/ 182925 h 196510"/>
                <a:gd name="connsiteX13" fmla="*/ 0 w 185112"/>
                <a:gd name="connsiteY13" fmla="*/ 7322 h 196510"/>
                <a:gd name="connsiteX14" fmla="*/ 1607 w 185112"/>
                <a:gd name="connsiteY14" fmla="*/ 5514 h 196510"/>
                <a:gd name="connsiteX15" fmla="*/ 175736 w 185112"/>
                <a:gd name="connsiteY15" fmla="*/ 1697 h 196510"/>
                <a:gd name="connsiteX16" fmla="*/ 183974 w 185112"/>
                <a:gd name="connsiteY16" fmla="*/ 10403 h 196510"/>
                <a:gd name="connsiteX17" fmla="*/ 185113 w 185112"/>
                <a:gd name="connsiteY17" fmla="*/ 193573 h 196510"/>
                <a:gd name="connsiteX18" fmla="*/ 181831 w 185112"/>
                <a:gd name="connsiteY18" fmla="*/ 196453 h 196510"/>
                <a:gd name="connsiteX19" fmla="*/ 113385 w 185112"/>
                <a:gd name="connsiteY19" fmla="*/ 187613 h 19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112" h="196510">
                  <a:moveTo>
                    <a:pt x="113385" y="187613"/>
                  </a:moveTo>
                  <a:cubicBezTo>
                    <a:pt x="113162" y="184443"/>
                    <a:pt x="113943" y="181674"/>
                    <a:pt x="115729" y="179308"/>
                  </a:cubicBezTo>
                  <a:cubicBezTo>
                    <a:pt x="117336" y="177165"/>
                    <a:pt x="118251" y="175647"/>
                    <a:pt x="118475" y="174754"/>
                  </a:cubicBezTo>
                  <a:cubicBezTo>
                    <a:pt x="119100" y="172388"/>
                    <a:pt x="118966" y="170513"/>
                    <a:pt x="118073" y="169128"/>
                  </a:cubicBezTo>
                  <a:lnTo>
                    <a:pt x="117202" y="52261"/>
                  </a:lnTo>
                  <a:cubicBezTo>
                    <a:pt x="117158" y="47886"/>
                    <a:pt x="114970" y="45809"/>
                    <a:pt x="110639" y="46033"/>
                  </a:cubicBezTo>
                  <a:lnTo>
                    <a:pt x="76751" y="47640"/>
                  </a:lnTo>
                  <a:cubicBezTo>
                    <a:pt x="72197" y="47863"/>
                    <a:pt x="69741" y="50229"/>
                    <a:pt x="69384" y="54739"/>
                  </a:cubicBezTo>
                  <a:cubicBezTo>
                    <a:pt x="66615" y="91038"/>
                    <a:pt x="67464" y="128454"/>
                    <a:pt x="71929" y="166985"/>
                  </a:cubicBezTo>
                  <a:cubicBezTo>
                    <a:pt x="73938" y="177835"/>
                    <a:pt x="72018" y="184353"/>
                    <a:pt x="66169" y="186541"/>
                  </a:cubicBezTo>
                  <a:lnTo>
                    <a:pt x="6028" y="188751"/>
                  </a:lnTo>
                  <a:cubicBezTo>
                    <a:pt x="2850" y="188899"/>
                    <a:pt x="155" y="186413"/>
                    <a:pt x="7" y="183199"/>
                  </a:cubicBezTo>
                  <a:cubicBezTo>
                    <a:pt x="2" y="183108"/>
                    <a:pt x="0" y="183016"/>
                    <a:pt x="0" y="182925"/>
                  </a:cubicBezTo>
                  <a:lnTo>
                    <a:pt x="0" y="7322"/>
                  </a:lnTo>
                  <a:cubicBezTo>
                    <a:pt x="-5" y="6374"/>
                    <a:pt x="697" y="5584"/>
                    <a:pt x="1607" y="5514"/>
                  </a:cubicBezTo>
                  <a:cubicBezTo>
                    <a:pt x="63133" y="-201"/>
                    <a:pt x="121176" y="-1474"/>
                    <a:pt x="175736" y="1697"/>
                  </a:cubicBezTo>
                  <a:cubicBezTo>
                    <a:pt x="181228" y="2009"/>
                    <a:pt x="183974" y="4911"/>
                    <a:pt x="183974" y="10403"/>
                  </a:cubicBezTo>
                  <a:lnTo>
                    <a:pt x="185113" y="193573"/>
                  </a:lnTo>
                  <a:cubicBezTo>
                    <a:pt x="185113" y="195806"/>
                    <a:pt x="184019" y="196766"/>
                    <a:pt x="181831" y="196453"/>
                  </a:cubicBezTo>
                  <a:lnTo>
                    <a:pt x="113385" y="187613"/>
                  </a:lnTo>
                  <a:close/>
                </a:path>
              </a:pathLst>
            </a:custGeom>
            <a:grpFill/>
            <a:ln w="6697" cap="flat">
              <a:noFill/>
              <a:prstDash val="solid"/>
              <a:miter/>
            </a:ln>
          </p:spPr>
          <p:txBody>
            <a:bodyPr rtlCol="0" anchor="ctr"/>
            <a:lstStyle/>
            <a:p>
              <a:endParaRPr lang="fr-FR"/>
            </a:p>
          </p:txBody>
        </p:sp>
        <p:sp>
          <p:nvSpPr>
            <p:cNvPr id="46" name="Free-form: Shape 788">
              <a:extLst>
                <a:ext uri="{FF2B5EF4-FFF2-40B4-BE49-F238E27FC236}">
                  <a16:creationId xmlns:a16="http://schemas.microsoft.com/office/drawing/2014/main" id="{1A3E34C4-2AD7-94EF-383B-2BFBBD2B9785}"/>
                </a:ext>
              </a:extLst>
            </p:cNvPr>
            <p:cNvSpPr/>
            <p:nvPr/>
          </p:nvSpPr>
          <p:spPr>
            <a:xfrm>
              <a:off x="8543866" y="1597939"/>
              <a:ext cx="69327" cy="61368"/>
            </a:xfrm>
            <a:custGeom>
              <a:avLst/>
              <a:gdLst>
                <a:gd name="connsiteX0" fmla="*/ 204870 w 205189"/>
                <a:gd name="connsiteY0" fmla="*/ 17150 h 181634"/>
                <a:gd name="connsiteX1" fmla="*/ 197435 w 205189"/>
                <a:gd name="connsiteY1" fmla="*/ 33558 h 181634"/>
                <a:gd name="connsiteX2" fmla="*/ 191609 w 205189"/>
                <a:gd name="connsiteY2" fmla="*/ 36304 h 181634"/>
                <a:gd name="connsiteX3" fmla="*/ 158457 w 205189"/>
                <a:gd name="connsiteY3" fmla="*/ 55927 h 181634"/>
                <a:gd name="connsiteX4" fmla="*/ 160065 w 205189"/>
                <a:gd name="connsiteY4" fmla="*/ 133749 h 181634"/>
                <a:gd name="connsiteX5" fmla="*/ 170111 w 205189"/>
                <a:gd name="connsiteY5" fmla="*/ 143594 h 181634"/>
                <a:gd name="connsiteX6" fmla="*/ 195158 w 205189"/>
                <a:gd name="connsiteY6" fmla="*/ 181634 h 181634"/>
                <a:gd name="connsiteX7" fmla="*/ 8238 w 205189"/>
                <a:gd name="connsiteY7" fmla="*/ 179491 h 181634"/>
                <a:gd name="connsiteX8" fmla="*/ 1004 w 205189"/>
                <a:gd name="connsiteY8" fmla="*/ 172191 h 181634"/>
                <a:gd name="connsiteX9" fmla="*/ 0 w 205189"/>
                <a:gd name="connsiteY9" fmla="*/ 8577 h 181634"/>
                <a:gd name="connsiteX10" fmla="*/ 5626 w 205189"/>
                <a:gd name="connsiteY10" fmla="*/ 1679 h 181634"/>
                <a:gd name="connsiteX11" fmla="*/ 18819 w 205189"/>
                <a:gd name="connsiteY11" fmla="*/ 540 h 181634"/>
                <a:gd name="connsiteX12" fmla="*/ 171182 w 205189"/>
                <a:gd name="connsiteY12" fmla="*/ 71 h 181634"/>
                <a:gd name="connsiteX13" fmla="*/ 195761 w 205189"/>
                <a:gd name="connsiteY13" fmla="*/ 2348 h 181634"/>
                <a:gd name="connsiteX14" fmla="*/ 203731 w 205189"/>
                <a:gd name="connsiteY14" fmla="*/ 6702 h 181634"/>
                <a:gd name="connsiteX15" fmla="*/ 204870 w 205189"/>
                <a:gd name="connsiteY15" fmla="*/ 17150 h 181634"/>
                <a:gd name="connsiteX16" fmla="*/ 102602 w 205189"/>
                <a:gd name="connsiteY16" fmla="*/ 140178 h 181634"/>
                <a:gd name="connsiteX17" fmla="*/ 102870 w 205189"/>
                <a:gd name="connsiteY17" fmla="*/ 54855 h 181634"/>
                <a:gd name="connsiteX18" fmla="*/ 97110 w 205189"/>
                <a:gd name="connsiteY18" fmla="*/ 49029 h 181634"/>
                <a:gd name="connsiteX19" fmla="*/ 78425 w 205189"/>
                <a:gd name="connsiteY19" fmla="*/ 48962 h 181634"/>
                <a:gd name="connsiteX20" fmla="*/ 59271 w 205189"/>
                <a:gd name="connsiteY20" fmla="*/ 69254 h 181634"/>
                <a:gd name="connsiteX21" fmla="*/ 59271 w 205189"/>
                <a:gd name="connsiteY21" fmla="*/ 69322 h 181634"/>
                <a:gd name="connsiteX22" fmla="*/ 59137 w 205189"/>
                <a:gd name="connsiteY22" fmla="*/ 125444 h 181634"/>
                <a:gd name="connsiteX23" fmla="*/ 78023 w 205189"/>
                <a:gd name="connsiteY23" fmla="*/ 145938 h 181634"/>
                <a:gd name="connsiteX24" fmla="*/ 96709 w 205189"/>
                <a:gd name="connsiteY24" fmla="*/ 146005 h 181634"/>
                <a:gd name="connsiteX25" fmla="*/ 102602 w 205189"/>
                <a:gd name="connsiteY25" fmla="*/ 140246 h 181634"/>
                <a:gd name="connsiteX26" fmla="*/ 102602 w 205189"/>
                <a:gd name="connsiteY26" fmla="*/ 140178 h 181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5189" h="181634">
                  <a:moveTo>
                    <a:pt x="204870" y="17150"/>
                  </a:moveTo>
                  <a:cubicBezTo>
                    <a:pt x="204200" y="23891"/>
                    <a:pt x="201722" y="29361"/>
                    <a:pt x="197435" y="33558"/>
                  </a:cubicBezTo>
                  <a:cubicBezTo>
                    <a:pt x="195828" y="35120"/>
                    <a:pt x="193886" y="36036"/>
                    <a:pt x="191609" y="36304"/>
                  </a:cubicBezTo>
                  <a:cubicBezTo>
                    <a:pt x="175602" y="38045"/>
                    <a:pt x="160266" y="38045"/>
                    <a:pt x="158457" y="55927"/>
                  </a:cubicBezTo>
                  <a:cubicBezTo>
                    <a:pt x="156091" y="79590"/>
                    <a:pt x="156627" y="105531"/>
                    <a:pt x="160065" y="133749"/>
                  </a:cubicBezTo>
                  <a:cubicBezTo>
                    <a:pt x="160699" y="138997"/>
                    <a:pt x="164879" y="143094"/>
                    <a:pt x="170111" y="143594"/>
                  </a:cubicBezTo>
                  <a:cubicBezTo>
                    <a:pt x="193417" y="145826"/>
                    <a:pt x="201766" y="158506"/>
                    <a:pt x="195158" y="181634"/>
                  </a:cubicBezTo>
                  <a:lnTo>
                    <a:pt x="8238" y="179491"/>
                  </a:lnTo>
                  <a:cubicBezTo>
                    <a:pt x="4258" y="179454"/>
                    <a:pt x="1040" y="176208"/>
                    <a:pt x="1004" y="172191"/>
                  </a:cubicBezTo>
                  <a:lnTo>
                    <a:pt x="0" y="8577"/>
                  </a:lnTo>
                  <a:cubicBezTo>
                    <a:pt x="-4" y="5232"/>
                    <a:pt x="2349" y="2348"/>
                    <a:pt x="5626" y="1679"/>
                  </a:cubicBezTo>
                  <a:cubicBezTo>
                    <a:pt x="8885" y="1054"/>
                    <a:pt x="13283" y="674"/>
                    <a:pt x="18819" y="540"/>
                  </a:cubicBezTo>
                  <a:cubicBezTo>
                    <a:pt x="38688" y="49"/>
                    <a:pt x="89475" y="-107"/>
                    <a:pt x="171182" y="71"/>
                  </a:cubicBezTo>
                  <a:cubicBezTo>
                    <a:pt x="175870" y="71"/>
                    <a:pt x="184063" y="830"/>
                    <a:pt x="195761" y="2348"/>
                  </a:cubicBezTo>
                  <a:cubicBezTo>
                    <a:pt x="199869" y="2929"/>
                    <a:pt x="202525" y="4380"/>
                    <a:pt x="203731" y="6702"/>
                  </a:cubicBezTo>
                  <a:cubicBezTo>
                    <a:pt x="205159" y="9381"/>
                    <a:pt x="205539" y="12863"/>
                    <a:pt x="204870" y="17150"/>
                  </a:cubicBezTo>
                  <a:close/>
                  <a:moveTo>
                    <a:pt x="102602" y="140178"/>
                  </a:moveTo>
                  <a:lnTo>
                    <a:pt x="102870" y="54855"/>
                  </a:lnTo>
                  <a:cubicBezTo>
                    <a:pt x="102870" y="51663"/>
                    <a:pt x="100302" y="49065"/>
                    <a:pt x="97110" y="49029"/>
                  </a:cubicBezTo>
                  <a:lnTo>
                    <a:pt x="78425" y="48962"/>
                  </a:lnTo>
                  <a:cubicBezTo>
                    <a:pt x="67921" y="48888"/>
                    <a:pt x="59345" y="57973"/>
                    <a:pt x="59271" y="69254"/>
                  </a:cubicBezTo>
                  <a:cubicBezTo>
                    <a:pt x="59271" y="69277"/>
                    <a:pt x="59271" y="69299"/>
                    <a:pt x="59271" y="69322"/>
                  </a:cubicBezTo>
                  <a:lnTo>
                    <a:pt x="59137" y="125444"/>
                  </a:lnTo>
                  <a:cubicBezTo>
                    <a:pt x="59097" y="136700"/>
                    <a:pt x="67543" y="145864"/>
                    <a:pt x="78023" y="145938"/>
                  </a:cubicBezTo>
                  <a:lnTo>
                    <a:pt x="96709" y="146005"/>
                  </a:lnTo>
                  <a:cubicBezTo>
                    <a:pt x="99926" y="146042"/>
                    <a:pt x="102565" y="143463"/>
                    <a:pt x="102602" y="140246"/>
                  </a:cubicBezTo>
                  <a:cubicBezTo>
                    <a:pt x="102602" y="140223"/>
                    <a:pt x="102602" y="140201"/>
                    <a:pt x="102602" y="140178"/>
                  </a:cubicBezTo>
                  <a:close/>
                </a:path>
              </a:pathLst>
            </a:custGeom>
            <a:grpFill/>
            <a:ln w="6697" cap="flat">
              <a:noFill/>
              <a:prstDash val="solid"/>
              <a:miter/>
            </a:ln>
          </p:spPr>
          <p:txBody>
            <a:bodyPr rtlCol="0" anchor="ctr"/>
            <a:lstStyle/>
            <a:p>
              <a:endParaRPr lang="fr-FR"/>
            </a:p>
          </p:txBody>
        </p:sp>
        <p:sp>
          <p:nvSpPr>
            <p:cNvPr id="47" name="Free-form: Shape 790">
              <a:extLst>
                <a:ext uri="{FF2B5EF4-FFF2-40B4-BE49-F238E27FC236}">
                  <a16:creationId xmlns:a16="http://schemas.microsoft.com/office/drawing/2014/main" id="{44E684E6-C092-00C8-DEE4-9D1B32DFCF14}"/>
                </a:ext>
              </a:extLst>
            </p:cNvPr>
            <p:cNvSpPr/>
            <p:nvPr/>
          </p:nvSpPr>
          <p:spPr>
            <a:xfrm>
              <a:off x="8304068" y="1601965"/>
              <a:ext cx="64957" cy="66427"/>
            </a:xfrm>
            <a:custGeom>
              <a:avLst/>
              <a:gdLst>
                <a:gd name="connsiteX0" fmla="*/ 113414 w 192257"/>
                <a:gd name="connsiteY0" fmla="*/ 177419 h 196606"/>
                <a:gd name="connsiteX1" fmla="*/ 109443 w 192257"/>
                <a:gd name="connsiteY1" fmla="*/ 172419 h 196606"/>
                <a:gd name="connsiteX2" fmla="*/ 108592 w 192257"/>
                <a:gd name="connsiteY2" fmla="*/ 172396 h 196606"/>
                <a:gd name="connsiteX3" fmla="*/ 90174 w 192257"/>
                <a:gd name="connsiteY3" fmla="*/ 189541 h 196606"/>
                <a:gd name="connsiteX4" fmla="*/ 85620 w 192257"/>
                <a:gd name="connsiteY4" fmla="*/ 193559 h 196606"/>
                <a:gd name="connsiteX5" fmla="*/ 22063 w 192257"/>
                <a:gd name="connsiteY5" fmla="*/ 196573 h 196606"/>
                <a:gd name="connsiteX6" fmla="*/ 4851 w 192257"/>
                <a:gd name="connsiteY6" fmla="*/ 181705 h 196606"/>
                <a:gd name="connsiteX7" fmla="*/ 1837 w 192257"/>
                <a:gd name="connsiteY7" fmla="*/ 12197 h 196606"/>
                <a:gd name="connsiteX8" fmla="*/ 10276 w 192257"/>
                <a:gd name="connsiteY8" fmla="*/ 3960 h 196606"/>
                <a:gd name="connsiteX9" fmla="*/ 177171 w 192257"/>
                <a:gd name="connsiteY9" fmla="*/ 8 h 196606"/>
                <a:gd name="connsiteX10" fmla="*/ 189762 w 192257"/>
                <a:gd name="connsiteY10" fmla="*/ 13068 h 196606"/>
                <a:gd name="connsiteX11" fmla="*/ 192240 w 192257"/>
                <a:gd name="connsiteY11" fmla="*/ 189005 h 196606"/>
                <a:gd name="connsiteX12" fmla="*/ 189378 w 192257"/>
                <a:gd name="connsiteY12" fmla="*/ 192537 h 196606"/>
                <a:gd name="connsiteX13" fmla="*/ 189026 w 192257"/>
                <a:gd name="connsiteY13" fmla="*/ 192555 h 196606"/>
                <a:gd name="connsiteX14" fmla="*/ 118972 w 192257"/>
                <a:gd name="connsiteY14" fmla="*/ 192555 h 196606"/>
                <a:gd name="connsiteX15" fmla="*/ 113815 w 192257"/>
                <a:gd name="connsiteY15" fmla="*/ 188670 h 196606"/>
                <a:gd name="connsiteX16" fmla="*/ 113414 w 192257"/>
                <a:gd name="connsiteY16" fmla="*/ 177419 h 196606"/>
                <a:gd name="connsiteX17" fmla="*/ 112945 w 192257"/>
                <a:gd name="connsiteY17" fmla="*/ 46420 h 196606"/>
                <a:gd name="connsiteX18" fmla="*/ 72426 w 192257"/>
                <a:gd name="connsiteY18" fmla="*/ 47425 h 196606"/>
                <a:gd name="connsiteX19" fmla="*/ 63720 w 192257"/>
                <a:gd name="connsiteY19" fmla="*/ 56529 h 196606"/>
                <a:gd name="connsiteX20" fmla="*/ 63720 w 192257"/>
                <a:gd name="connsiteY20" fmla="*/ 56533 h 196606"/>
                <a:gd name="connsiteX21" fmla="*/ 65595 w 192257"/>
                <a:gd name="connsiteY21" fmla="*/ 134355 h 196606"/>
                <a:gd name="connsiteX22" fmla="*/ 87629 w 192257"/>
                <a:gd name="connsiteY22" fmla="*/ 164694 h 196606"/>
                <a:gd name="connsiteX23" fmla="*/ 103434 w 192257"/>
                <a:gd name="connsiteY23" fmla="*/ 164292 h 196606"/>
                <a:gd name="connsiteX24" fmla="*/ 123996 w 192257"/>
                <a:gd name="connsiteY24" fmla="*/ 132942 h 196606"/>
                <a:gd name="connsiteX25" fmla="*/ 123995 w 192257"/>
                <a:gd name="connsiteY25" fmla="*/ 132882 h 196606"/>
                <a:gd name="connsiteX26" fmla="*/ 122120 w 192257"/>
                <a:gd name="connsiteY26" fmla="*/ 55127 h 196606"/>
                <a:gd name="connsiteX27" fmla="*/ 113018 w 192257"/>
                <a:gd name="connsiteY27" fmla="*/ 46418 h 196606"/>
                <a:gd name="connsiteX28" fmla="*/ 112945 w 192257"/>
                <a:gd name="connsiteY28" fmla="*/ 46420 h 19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2257" h="196606">
                  <a:moveTo>
                    <a:pt x="113414" y="177419"/>
                  </a:moveTo>
                  <a:cubicBezTo>
                    <a:pt x="113717" y="174959"/>
                    <a:pt x="111940" y="172721"/>
                    <a:pt x="109443" y="172419"/>
                  </a:cubicBezTo>
                  <a:cubicBezTo>
                    <a:pt x="109161" y="172386"/>
                    <a:pt x="108876" y="172377"/>
                    <a:pt x="108592" y="172396"/>
                  </a:cubicBezTo>
                  <a:cubicBezTo>
                    <a:pt x="98322" y="173066"/>
                    <a:pt x="92183" y="178781"/>
                    <a:pt x="90174" y="189541"/>
                  </a:cubicBezTo>
                  <a:cubicBezTo>
                    <a:pt x="89728" y="192086"/>
                    <a:pt x="88209" y="193425"/>
                    <a:pt x="85620" y="193559"/>
                  </a:cubicBezTo>
                  <a:lnTo>
                    <a:pt x="22063" y="196573"/>
                  </a:lnTo>
                  <a:cubicBezTo>
                    <a:pt x="11615" y="197064"/>
                    <a:pt x="5878" y="192108"/>
                    <a:pt x="4851" y="181705"/>
                  </a:cubicBezTo>
                  <a:cubicBezTo>
                    <a:pt x="-373" y="129377"/>
                    <a:pt x="-1378" y="72874"/>
                    <a:pt x="1837" y="12197"/>
                  </a:cubicBezTo>
                  <a:cubicBezTo>
                    <a:pt x="2080" y="7651"/>
                    <a:pt x="5758" y="4060"/>
                    <a:pt x="10276" y="3960"/>
                  </a:cubicBezTo>
                  <a:lnTo>
                    <a:pt x="177171" y="8"/>
                  </a:lnTo>
                  <a:cubicBezTo>
                    <a:pt x="186101" y="-215"/>
                    <a:pt x="190298" y="4138"/>
                    <a:pt x="189762" y="13068"/>
                  </a:cubicBezTo>
                  <a:cubicBezTo>
                    <a:pt x="186369" y="70352"/>
                    <a:pt x="187195" y="128998"/>
                    <a:pt x="192240" y="189005"/>
                  </a:cubicBezTo>
                  <a:cubicBezTo>
                    <a:pt x="192425" y="190771"/>
                    <a:pt x="191144" y="192352"/>
                    <a:pt x="189378" y="192537"/>
                  </a:cubicBezTo>
                  <a:cubicBezTo>
                    <a:pt x="189261" y="192550"/>
                    <a:pt x="189143" y="192555"/>
                    <a:pt x="189026" y="192555"/>
                  </a:cubicBezTo>
                  <a:lnTo>
                    <a:pt x="118972" y="192555"/>
                  </a:lnTo>
                  <a:cubicBezTo>
                    <a:pt x="116293" y="192555"/>
                    <a:pt x="114574" y="191260"/>
                    <a:pt x="113815" y="188670"/>
                  </a:cubicBezTo>
                  <a:cubicBezTo>
                    <a:pt x="112967" y="185679"/>
                    <a:pt x="112833" y="181928"/>
                    <a:pt x="113414" y="177419"/>
                  </a:cubicBezTo>
                  <a:close/>
                  <a:moveTo>
                    <a:pt x="112945" y="46420"/>
                  </a:moveTo>
                  <a:lnTo>
                    <a:pt x="72426" y="47425"/>
                  </a:lnTo>
                  <a:cubicBezTo>
                    <a:pt x="67508" y="47534"/>
                    <a:pt x="63610" y="51610"/>
                    <a:pt x="63720" y="56529"/>
                  </a:cubicBezTo>
                  <a:cubicBezTo>
                    <a:pt x="63720" y="56530"/>
                    <a:pt x="63720" y="56531"/>
                    <a:pt x="63720" y="56533"/>
                  </a:cubicBezTo>
                  <a:lnTo>
                    <a:pt x="65595" y="134355"/>
                  </a:lnTo>
                  <a:cubicBezTo>
                    <a:pt x="66014" y="151393"/>
                    <a:pt x="75876" y="164972"/>
                    <a:pt x="87629" y="164694"/>
                  </a:cubicBezTo>
                  <a:lnTo>
                    <a:pt x="103434" y="164292"/>
                  </a:lnTo>
                  <a:cubicBezTo>
                    <a:pt x="115193" y="164025"/>
                    <a:pt x="124399" y="149989"/>
                    <a:pt x="123996" y="132942"/>
                  </a:cubicBezTo>
                  <a:cubicBezTo>
                    <a:pt x="123996" y="132922"/>
                    <a:pt x="123995" y="132902"/>
                    <a:pt x="123995" y="132882"/>
                  </a:cubicBezTo>
                  <a:lnTo>
                    <a:pt x="122120" y="55127"/>
                  </a:lnTo>
                  <a:cubicBezTo>
                    <a:pt x="122011" y="50208"/>
                    <a:pt x="117936" y="46309"/>
                    <a:pt x="113018" y="46418"/>
                  </a:cubicBezTo>
                  <a:cubicBezTo>
                    <a:pt x="112993" y="46419"/>
                    <a:pt x="112969" y="46419"/>
                    <a:pt x="112945" y="46420"/>
                  </a:cubicBezTo>
                  <a:close/>
                </a:path>
              </a:pathLst>
            </a:custGeom>
            <a:grpFill/>
            <a:ln w="6697" cap="flat">
              <a:noFill/>
              <a:prstDash val="solid"/>
              <a:miter/>
            </a:ln>
          </p:spPr>
          <p:txBody>
            <a:bodyPr rtlCol="0" anchor="ctr"/>
            <a:lstStyle/>
            <a:p>
              <a:endParaRPr lang="fr-FR"/>
            </a:p>
          </p:txBody>
        </p:sp>
        <p:sp>
          <p:nvSpPr>
            <p:cNvPr id="48" name="Free-form: Shape 797">
              <a:extLst>
                <a:ext uri="{FF2B5EF4-FFF2-40B4-BE49-F238E27FC236}">
                  <a16:creationId xmlns:a16="http://schemas.microsoft.com/office/drawing/2014/main" id="{A3D9CEA2-5392-C32F-803A-4F7366DFC8B7}"/>
                </a:ext>
              </a:extLst>
            </p:cNvPr>
            <p:cNvSpPr/>
            <p:nvPr/>
          </p:nvSpPr>
          <p:spPr>
            <a:xfrm>
              <a:off x="8426947" y="1609679"/>
              <a:ext cx="62385" cy="55803"/>
            </a:xfrm>
            <a:custGeom>
              <a:avLst/>
              <a:gdLst>
                <a:gd name="connsiteX0" fmla="*/ 105415 w 184643"/>
                <a:gd name="connsiteY0" fmla="*/ 156599 h 165162"/>
                <a:gd name="connsiteX1" fmla="*/ 78425 w 184643"/>
                <a:gd name="connsiteY1" fmla="*/ 158005 h 165162"/>
                <a:gd name="connsiteX2" fmla="*/ 10314 w 184643"/>
                <a:gd name="connsiteY2" fmla="*/ 159479 h 165162"/>
                <a:gd name="connsiteX3" fmla="*/ 804 w 184643"/>
                <a:gd name="connsiteY3" fmla="*/ 148763 h 165162"/>
                <a:gd name="connsiteX4" fmla="*/ 0 w 184643"/>
                <a:gd name="connsiteY4" fmla="*/ 11469 h 165162"/>
                <a:gd name="connsiteX5" fmla="*/ 9978 w 184643"/>
                <a:gd name="connsiteY5" fmla="*/ 1356 h 165162"/>
                <a:gd name="connsiteX6" fmla="*/ 10180 w 184643"/>
                <a:gd name="connsiteY6" fmla="*/ 1356 h 165162"/>
                <a:gd name="connsiteX7" fmla="*/ 117068 w 184643"/>
                <a:gd name="connsiteY7" fmla="*/ 218 h 165162"/>
                <a:gd name="connsiteX8" fmla="*/ 180960 w 184643"/>
                <a:gd name="connsiteY8" fmla="*/ 7250 h 165162"/>
                <a:gd name="connsiteX9" fmla="*/ 184643 w 184643"/>
                <a:gd name="connsiteY9" fmla="*/ 12138 h 165162"/>
                <a:gd name="connsiteX10" fmla="*/ 184644 w 184643"/>
                <a:gd name="connsiteY10" fmla="*/ 159746 h 165162"/>
                <a:gd name="connsiteX11" fmla="*/ 179621 w 184643"/>
                <a:gd name="connsiteY11" fmla="*/ 164971 h 165162"/>
                <a:gd name="connsiteX12" fmla="*/ 105415 w 184643"/>
                <a:gd name="connsiteY12" fmla="*/ 156599 h 165162"/>
                <a:gd name="connsiteX13" fmla="*/ 67241 w 184643"/>
                <a:gd name="connsiteY13" fmla="*/ 39932 h 165162"/>
                <a:gd name="connsiteX14" fmla="*/ 69116 w 184643"/>
                <a:gd name="connsiteY14" fmla="*/ 144878 h 165162"/>
                <a:gd name="connsiteX15" fmla="*/ 71058 w 184643"/>
                <a:gd name="connsiteY15" fmla="*/ 146820 h 165162"/>
                <a:gd name="connsiteX16" fmla="*/ 96173 w 184643"/>
                <a:gd name="connsiteY16" fmla="*/ 146352 h 165162"/>
                <a:gd name="connsiteX17" fmla="*/ 119078 w 184643"/>
                <a:gd name="connsiteY17" fmla="*/ 120614 h 165162"/>
                <a:gd name="connsiteX18" fmla="*/ 119077 w 184643"/>
                <a:gd name="connsiteY18" fmla="*/ 120567 h 165162"/>
                <a:gd name="connsiteX19" fmla="*/ 118006 w 184643"/>
                <a:gd name="connsiteY19" fmla="*/ 62502 h 165162"/>
                <a:gd name="connsiteX20" fmla="*/ 94298 w 184643"/>
                <a:gd name="connsiteY20" fmla="*/ 37521 h 165162"/>
                <a:gd name="connsiteX21" fmla="*/ 69183 w 184643"/>
                <a:gd name="connsiteY21" fmla="*/ 37923 h 165162"/>
                <a:gd name="connsiteX22" fmla="*/ 67239 w 184643"/>
                <a:gd name="connsiteY22" fmla="*/ 39864 h 165162"/>
                <a:gd name="connsiteX23" fmla="*/ 67241 w 184643"/>
                <a:gd name="connsiteY23" fmla="*/ 39933 h 16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4643" h="165162">
                  <a:moveTo>
                    <a:pt x="105415" y="156599"/>
                  </a:moveTo>
                  <a:cubicBezTo>
                    <a:pt x="100727" y="155304"/>
                    <a:pt x="91730" y="155773"/>
                    <a:pt x="78425" y="158005"/>
                  </a:cubicBezTo>
                  <a:cubicBezTo>
                    <a:pt x="54583" y="162024"/>
                    <a:pt x="32683" y="162224"/>
                    <a:pt x="10314" y="159479"/>
                  </a:cubicBezTo>
                  <a:cubicBezTo>
                    <a:pt x="4894" y="158775"/>
                    <a:pt x="829" y="154196"/>
                    <a:pt x="804" y="148763"/>
                  </a:cubicBezTo>
                  <a:lnTo>
                    <a:pt x="0" y="11469"/>
                  </a:lnTo>
                  <a:cubicBezTo>
                    <a:pt x="-37" y="5921"/>
                    <a:pt x="4430" y="1393"/>
                    <a:pt x="9978" y="1356"/>
                  </a:cubicBezTo>
                  <a:cubicBezTo>
                    <a:pt x="10045" y="1355"/>
                    <a:pt x="10113" y="1355"/>
                    <a:pt x="10180" y="1356"/>
                  </a:cubicBezTo>
                  <a:cubicBezTo>
                    <a:pt x="49024" y="2071"/>
                    <a:pt x="84653" y="1691"/>
                    <a:pt x="117068" y="218"/>
                  </a:cubicBezTo>
                  <a:cubicBezTo>
                    <a:pt x="138678" y="-765"/>
                    <a:pt x="159976" y="1579"/>
                    <a:pt x="180960" y="7250"/>
                  </a:cubicBezTo>
                  <a:cubicBezTo>
                    <a:pt x="183136" y="7852"/>
                    <a:pt x="184643" y="9852"/>
                    <a:pt x="184643" y="12138"/>
                  </a:cubicBezTo>
                  <a:lnTo>
                    <a:pt x="184644" y="159746"/>
                  </a:lnTo>
                  <a:cubicBezTo>
                    <a:pt x="184646" y="162580"/>
                    <a:pt x="182417" y="164898"/>
                    <a:pt x="179621" y="164971"/>
                  </a:cubicBezTo>
                  <a:cubicBezTo>
                    <a:pt x="154082" y="165953"/>
                    <a:pt x="129346" y="163162"/>
                    <a:pt x="105415" y="156599"/>
                  </a:cubicBezTo>
                  <a:close/>
                  <a:moveTo>
                    <a:pt x="67241" y="39932"/>
                  </a:moveTo>
                  <a:lnTo>
                    <a:pt x="69116" y="144878"/>
                  </a:lnTo>
                  <a:cubicBezTo>
                    <a:pt x="69116" y="145951"/>
                    <a:pt x="69986" y="146820"/>
                    <a:pt x="71058" y="146820"/>
                  </a:cubicBezTo>
                  <a:lnTo>
                    <a:pt x="96173" y="146352"/>
                  </a:lnTo>
                  <a:cubicBezTo>
                    <a:pt x="109043" y="146154"/>
                    <a:pt x="119298" y="134631"/>
                    <a:pt x="119078" y="120614"/>
                  </a:cubicBezTo>
                  <a:cubicBezTo>
                    <a:pt x="119078" y="120599"/>
                    <a:pt x="119078" y="120583"/>
                    <a:pt x="119077" y="120567"/>
                  </a:cubicBezTo>
                  <a:lnTo>
                    <a:pt x="118006" y="62502"/>
                  </a:lnTo>
                  <a:cubicBezTo>
                    <a:pt x="117766" y="48498"/>
                    <a:pt x="107156" y="37319"/>
                    <a:pt x="94298" y="37521"/>
                  </a:cubicBezTo>
                  <a:lnTo>
                    <a:pt x="69183" y="37923"/>
                  </a:lnTo>
                  <a:cubicBezTo>
                    <a:pt x="68110" y="37922"/>
                    <a:pt x="67240" y="38791"/>
                    <a:pt x="67239" y="39864"/>
                  </a:cubicBezTo>
                  <a:cubicBezTo>
                    <a:pt x="67239" y="39887"/>
                    <a:pt x="67240" y="39910"/>
                    <a:pt x="67241" y="39933"/>
                  </a:cubicBezTo>
                  <a:close/>
                </a:path>
              </a:pathLst>
            </a:custGeom>
            <a:grpFill/>
            <a:ln w="6697" cap="flat">
              <a:noFill/>
              <a:prstDash val="solid"/>
              <a:miter/>
            </a:ln>
          </p:spPr>
          <p:txBody>
            <a:bodyPr rtlCol="0" anchor="ctr"/>
            <a:lstStyle/>
            <a:p>
              <a:endParaRPr lang="fr-FR"/>
            </a:p>
          </p:txBody>
        </p:sp>
        <p:sp>
          <p:nvSpPr>
            <p:cNvPr id="49" name="Free-form: Shape 800">
              <a:extLst>
                <a:ext uri="{FF2B5EF4-FFF2-40B4-BE49-F238E27FC236}">
                  <a16:creationId xmlns:a16="http://schemas.microsoft.com/office/drawing/2014/main" id="{2E65ED94-2065-AB57-075E-9765BCFD3702}"/>
                </a:ext>
              </a:extLst>
            </p:cNvPr>
            <p:cNvSpPr/>
            <p:nvPr/>
          </p:nvSpPr>
          <p:spPr>
            <a:xfrm>
              <a:off x="8385199" y="1611744"/>
              <a:ext cx="113" cy="2376"/>
            </a:xfrm>
            <a:custGeom>
              <a:avLst/>
              <a:gdLst>
                <a:gd name="connsiteX0" fmla="*/ 0 w 334"/>
                <a:gd name="connsiteY0" fmla="*/ 7032 h 7032"/>
                <a:gd name="connsiteX1" fmla="*/ 335 w 334"/>
                <a:gd name="connsiteY1" fmla="*/ 0 h 7032"/>
                <a:gd name="connsiteX2" fmla="*/ 0 w 334"/>
                <a:gd name="connsiteY2" fmla="*/ 7032 h 7032"/>
              </a:gdLst>
              <a:ahLst/>
              <a:cxnLst>
                <a:cxn ang="0">
                  <a:pos x="connsiteX0" y="connsiteY0"/>
                </a:cxn>
                <a:cxn ang="0">
                  <a:pos x="connsiteX1" y="connsiteY1"/>
                </a:cxn>
                <a:cxn ang="0">
                  <a:pos x="connsiteX2" y="connsiteY2"/>
                </a:cxn>
              </a:cxnLst>
              <a:rect l="l" t="t" r="r" b="b"/>
              <a:pathLst>
                <a:path w="334" h="7032">
                  <a:moveTo>
                    <a:pt x="0" y="7032"/>
                  </a:moveTo>
                  <a:lnTo>
                    <a:pt x="335" y="0"/>
                  </a:lnTo>
                  <a:lnTo>
                    <a:pt x="0" y="7032"/>
                  </a:lnTo>
                  <a:close/>
                </a:path>
              </a:pathLst>
            </a:custGeom>
            <a:grpFill/>
            <a:ln w="6697" cap="flat">
              <a:noFill/>
              <a:prstDash val="solid"/>
              <a:miter/>
            </a:ln>
          </p:spPr>
          <p:txBody>
            <a:bodyPr rtlCol="0" anchor="ctr"/>
            <a:lstStyle/>
            <a:p>
              <a:endParaRPr lang="fr-FR"/>
            </a:p>
          </p:txBody>
        </p:sp>
        <p:sp>
          <p:nvSpPr>
            <p:cNvPr id="50" name="Free-form: Shape 250">
              <a:extLst>
                <a:ext uri="{FF2B5EF4-FFF2-40B4-BE49-F238E27FC236}">
                  <a16:creationId xmlns:a16="http://schemas.microsoft.com/office/drawing/2014/main" id="{1CC0A765-9C5F-B714-7C5D-42683C17B939}"/>
                </a:ext>
              </a:extLst>
            </p:cNvPr>
            <p:cNvSpPr/>
            <p:nvPr/>
          </p:nvSpPr>
          <p:spPr>
            <a:xfrm>
              <a:off x="8405730" y="1671933"/>
              <a:ext cx="361089" cy="59964"/>
            </a:xfrm>
            <a:custGeom>
              <a:avLst/>
              <a:gdLst>
                <a:gd name="connsiteX0" fmla="*/ 1017025 w 1068727"/>
                <a:gd name="connsiteY0" fmla="*/ 110238 h 177478"/>
                <a:gd name="connsiteX1" fmla="*/ 1068728 w 1068727"/>
                <a:gd name="connsiteY1" fmla="*/ 177479 h 177478"/>
                <a:gd name="connsiteX2" fmla="*/ 230364 w 1068727"/>
                <a:gd name="connsiteY2" fmla="*/ 175336 h 177478"/>
                <a:gd name="connsiteX3" fmla="*/ 203106 w 1068727"/>
                <a:gd name="connsiteY3" fmla="*/ 167835 h 177478"/>
                <a:gd name="connsiteX4" fmla="*/ 45185 w 1068727"/>
                <a:gd name="connsiteY4" fmla="*/ 162410 h 177478"/>
                <a:gd name="connsiteX5" fmla="*/ 8819 w 1068727"/>
                <a:gd name="connsiteY5" fmla="*/ 160401 h 177478"/>
                <a:gd name="connsiteX6" fmla="*/ 3796 w 1068727"/>
                <a:gd name="connsiteY6" fmla="*/ 157119 h 177478"/>
                <a:gd name="connsiteX7" fmla="*/ 2992 w 1068727"/>
                <a:gd name="connsiteY7" fmla="*/ 135487 h 177478"/>
                <a:gd name="connsiteX8" fmla="*/ 10962 w 1068727"/>
                <a:gd name="connsiteY8" fmla="*/ 117672 h 177478"/>
                <a:gd name="connsiteX9" fmla="*/ 69228 w 1068727"/>
                <a:gd name="connsiteY9" fmla="*/ 115931 h 177478"/>
                <a:gd name="connsiteX10" fmla="*/ 73782 w 1068727"/>
                <a:gd name="connsiteY10" fmla="*/ 112314 h 177478"/>
                <a:gd name="connsiteX11" fmla="*/ 72778 w 1068727"/>
                <a:gd name="connsiteY11" fmla="*/ 103608 h 177478"/>
                <a:gd name="connsiteX12" fmla="*/ 101777 w 1068727"/>
                <a:gd name="connsiteY12" fmla="*/ 67711 h 177478"/>
                <a:gd name="connsiteX13" fmla="*/ 115774 w 1068727"/>
                <a:gd name="connsiteY13" fmla="*/ 63157 h 177478"/>
                <a:gd name="connsiteX14" fmla="*/ 138344 w 1068727"/>
                <a:gd name="connsiteY14" fmla="*/ 69184 h 177478"/>
                <a:gd name="connsiteX15" fmla="*/ 130106 w 1068727"/>
                <a:gd name="connsiteY15" fmla="*/ 110774 h 177478"/>
                <a:gd name="connsiteX16" fmla="*/ 140152 w 1068727"/>
                <a:gd name="connsiteY16" fmla="*/ 119347 h 177478"/>
                <a:gd name="connsiteX17" fmla="*/ 187971 w 1068727"/>
                <a:gd name="connsiteY17" fmla="*/ 115328 h 177478"/>
                <a:gd name="connsiteX18" fmla="*/ 204714 w 1068727"/>
                <a:gd name="connsiteY18" fmla="*/ 86731 h 177478"/>
                <a:gd name="connsiteX19" fmla="*/ 230230 w 1068727"/>
                <a:gd name="connsiteY19" fmla="*/ 88472 h 177478"/>
                <a:gd name="connsiteX20" fmla="*/ 235588 w 1068727"/>
                <a:gd name="connsiteY20" fmla="*/ 85860 h 177478"/>
                <a:gd name="connsiteX21" fmla="*/ 247041 w 1068727"/>
                <a:gd name="connsiteY21" fmla="*/ 69117 h 177478"/>
                <a:gd name="connsiteX22" fmla="*/ 244295 w 1068727"/>
                <a:gd name="connsiteY22" fmla="*/ 104479 h 177478"/>
                <a:gd name="connsiteX23" fmla="*/ 253805 w 1068727"/>
                <a:gd name="connsiteY23" fmla="*/ 117539 h 177478"/>
                <a:gd name="connsiteX24" fmla="*/ 297672 w 1068727"/>
                <a:gd name="connsiteY24" fmla="*/ 111846 h 177478"/>
                <a:gd name="connsiteX25" fmla="*/ 305708 w 1068727"/>
                <a:gd name="connsiteY25" fmla="*/ 168036 h 177478"/>
                <a:gd name="connsiteX26" fmla="*/ 312607 w 1068727"/>
                <a:gd name="connsiteY26" fmla="*/ 173326 h 177478"/>
                <a:gd name="connsiteX27" fmla="*/ 360291 w 1068727"/>
                <a:gd name="connsiteY27" fmla="*/ 167835 h 177478"/>
                <a:gd name="connsiteX28" fmla="*/ 365515 w 1068727"/>
                <a:gd name="connsiteY28" fmla="*/ 161204 h 177478"/>
                <a:gd name="connsiteX29" fmla="*/ 360224 w 1068727"/>
                <a:gd name="connsiteY29" fmla="*/ 116400 h 177478"/>
                <a:gd name="connsiteX30" fmla="*/ 371141 w 1068727"/>
                <a:gd name="connsiteY30" fmla="*/ 123834 h 177478"/>
                <a:gd name="connsiteX31" fmla="*/ 380517 w 1068727"/>
                <a:gd name="connsiteY31" fmla="*/ 122963 h 177478"/>
                <a:gd name="connsiteX32" fmla="*/ 413200 w 1068727"/>
                <a:gd name="connsiteY32" fmla="*/ 102001 h 177478"/>
                <a:gd name="connsiteX33" fmla="*/ 458272 w 1068727"/>
                <a:gd name="connsiteY33" fmla="*/ 83047 h 177478"/>
                <a:gd name="connsiteX34" fmla="*/ 458741 w 1068727"/>
                <a:gd name="connsiteY34" fmla="*/ 105081 h 177478"/>
                <a:gd name="connsiteX35" fmla="*/ 467582 w 1068727"/>
                <a:gd name="connsiteY35" fmla="*/ 114257 h 177478"/>
                <a:gd name="connsiteX36" fmla="*/ 505957 w 1068727"/>
                <a:gd name="connsiteY36" fmla="*/ 116467 h 177478"/>
                <a:gd name="connsiteX37" fmla="*/ 516672 w 1068727"/>
                <a:gd name="connsiteY37" fmla="*/ 107359 h 177478"/>
                <a:gd name="connsiteX38" fmla="*/ 511850 w 1068727"/>
                <a:gd name="connsiteY38" fmla="*/ 60009 h 177478"/>
                <a:gd name="connsiteX39" fmla="*/ 538639 w 1068727"/>
                <a:gd name="connsiteY39" fmla="*/ 52910 h 177478"/>
                <a:gd name="connsiteX40" fmla="*/ 544667 w 1068727"/>
                <a:gd name="connsiteY40" fmla="*/ 52843 h 177478"/>
                <a:gd name="connsiteX41" fmla="*/ 564022 w 1068727"/>
                <a:gd name="connsiteY41" fmla="*/ 63692 h 177478"/>
                <a:gd name="connsiteX42" fmla="*/ 567036 w 1068727"/>
                <a:gd name="connsiteY42" fmla="*/ 63692 h 177478"/>
                <a:gd name="connsiteX43" fmla="*/ 569849 w 1068727"/>
                <a:gd name="connsiteY43" fmla="*/ 66304 h 177478"/>
                <a:gd name="connsiteX44" fmla="*/ 568643 w 1068727"/>
                <a:gd name="connsiteY44" fmla="*/ 80904 h 177478"/>
                <a:gd name="connsiteX45" fmla="*/ 567639 w 1068727"/>
                <a:gd name="connsiteY45" fmla="*/ 104479 h 177478"/>
                <a:gd name="connsiteX46" fmla="*/ 571322 w 1068727"/>
                <a:gd name="connsiteY46" fmla="*/ 108095 h 177478"/>
                <a:gd name="connsiteX47" fmla="*/ 671580 w 1068727"/>
                <a:gd name="connsiteY47" fmla="*/ 120351 h 177478"/>
                <a:gd name="connsiteX48" fmla="*/ 717390 w 1068727"/>
                <a:gd name="connsiteY48" fmla="*/ 143859 h 177478"/>
                <a:gd name="connsiteX49" fmla="*/ 722814 w 1068727"/>
                <a:gd name="connsiteY49" fmla="*/ 141381 h 177478"/>
                <a:gd name="connsiteX50" fmla="*/ 734133 w 1068727"/>
                <a:gd name="connsiteY50" fmla="*/ 117203 h 177478"/>
                <a:gd name="connsiteX51" fmla="*/ 811955 w 1068727"/>
                <a:gd name="connsiteY51" fmla="*/ 113252 h 177478"/>
                <a:gd name="connsiteX52" fmla="*/ 815465 w 1068727"/>
                <a:gd name="connsiteY52" fmla="*/ 109380 h 177478"/>
                <a:gd name="connsiteX53" fmla="*/ 814499 w 1068727"/>
                <a:gd name="connsiteY53" fmla="*/ 107024 h 177478"/>
                <a:gd name="connsiteX54" fmla="*/ 791461 w 1068727"/>
                <a:gd name="connsiteY54" fmla="*/ 7100 h 177478"/>
                <a:gd name="connsiteX55" fmla="*/ 795948 w 1068727"/>
                <a:gd name="connsiteY55" fmla="*/ 2546 h 177478"/>
                <a:gd name="connsiteX56" fmla="*/ 923263 w 1068727"/>
                <a:gd name="connsiteY56" fmla="*/ 1 h 177478"/>
                <a:gd name="connsiteX57" fmla="*/ 975837 w 1068727"/>
                <a:gd name="connsiteY57" fmla="*/ 3685 h 177478"/>
                <a:gd name="connsiteX58" fmla="*/ 980391 w 1068727"/>
                <a:gd name="connsiteY58" fmla="*/ 9779 h 177478"/>
                <a:gd name="connsiteX59" fmla="*/ 967800 w 1068727"/>
                <a:gd name="connsiteY59" fmla="*/ 86463 h 177478"/>
                <a:gd name="connsiteX60" fmla="*/ 954941 w 1068727"/>
                <a:gd name="connsiteY60" fmla="*/ 108899 h 177478"/>
                <a:gd name="connsiteX61" fmla="*/ 954941 w 1068727"/>
                <a:gd name="connsiteY61" fmla="*/ 112649 h 177478"/>
                <a:gd name="connsiteX62" fmla="*/ 1017025 w 1068727"/>
                <a:gd name="connsiteY62" fmla="*/ 110238 h 177478"/>
                <a:gd name="connsiteX63" fmla="*/ 938265 w 1068727"/>
                <a:gd name="connsiteY63" fmla="*/ 97915 h 177478"/>
                <a:gd name="connsiteX64" fmla="*/ 930430 w 1068727"/>
                <a:gd name="connsiteY64" fmla="*/ 58669 h 177478"/>
                <a:gd name="connsiteX65" fmla="*/ 917638 w 1068727"/>
                <a:gd name="connsiteY65" fmla="*/ 49025 h 177478"/>
                <a:gd name="connsiteX66" fmla="*/ 870690 w 1068727"/>
                <a:gd name="connsiteY66" fmla="*/ 49025 h 177478"/>
                <a:gd name="connsiteX67" fmla="*/ 855085 w 1068727"/>
                <a:gd name="connsiteY67" fmla="*/ 62889 h 177478"/>
                <a:gd name="connsiteX68" fmla="*/ 850531 w 1068727"/>
                <a:gd name="connsiteY68" fmla="*/ 100259 h 177478"/>
                <a:gd name="connsiteX69" fmla="*/ 862385 w 1068727"/>
                <a:gd name="connsiteY69" fmla="*/ 113654 h 177478"/>
                <a:gd name="connsiteX70" fmla="*/ 939805 w 1068727"/>
                <a:gd name="connsiteY70" fmla="*/ 113453 h 177478"/>
                <a:gd name="connsiteX71" fmla="*/ 940810 w 1068727"/>
                <a:gd name="connsiteY71" fmla="*/ 107224 h 177478"/>
                <a:gd name="connsiteX72" fmla="*/ 938265 w 1068727"/>
                <a:gd name="connsiteY72" fmla="*/ 97915 h 17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068727" h="177478">
                  <a:moveTo>
                    <a:pt x="1017025" y="110238"/>
                  </a:moveTo>
                  <a:cubicBezTo>
                    <a:pt x="1029884" y="133411"/>
                    <a:pt x="1047118" y="155824"/>
                    <a:pt x="1068728" y="177479"/>
                  </a:cubicBezTo>
                  <a:lnTo>
                    <a:pt x="230364" y="175336"/>
                  </a:lnTo>
                  <a:cubicBezTo>
                    <a:pt x="219872" y="171228"/>
                    <a:pt x="210786" y="168728"/>
                    <a:pt x="203106" y="167835"/>
                  </a:cubicBezTo>
                  <a:cubicBezTo>
                    <a:pt x="156538" y="162700"/>
                    <a:pt x="103898" y="160892"/>
                    <a:pt x="45185" y="162410"/>
                  </a:cubicBezTo>
                  <a:cubicBezTo>
                    <a:pt x="41300" y="162544"/>
                    <a:pt x="29178" y="161874"/>
                    <a:pt x="8819" y="160401"/>
                  </a:cubicBezTo>
                  <a:cubicBezTo>
                    <a:pt x="6542" y="160222"/>
                    <a:pt x="4867" y="159128"/>
                    <a:pt x="3796" y="157119"/>
                  </a:cubicBezTo>
                  <a:cubicBezTo>
                    <a:pt x="-981" y="148279"/>
                    <a:pt x="-1250" y="141068"/>
                    <a:pt x="2992" y="135487"/>
                  </a:cubicBezTo>
                  <a:cubicBezTo>
                    <a:pt x="7725" y="129281"/>
                    <a:pt x="10382" y="123343"/>
                    <a:pt x="10962" y="117672"/>
                  </a:cubicBezTo>
                  <a:lnTo>
                    <a:pt x="69228" y="115931"/>
                  </a:lnTo>
                  <a:cubicBezTo>
                    <a:pt x="71684" y="115842"/>
                    <a:pt x="73202" y="114636"/>
                    <a:pt x="73782" y="112314"/>
                  </a:cubicBezTo>
                  <a:cubicBezTo>
                    <a:pt x="74362" y="109993"/>
                    <a:pt x="74028" y="107091"/>
                    <a:pt x="72778" y="103608"/>
                  </a:cubicBezTo>
                  <a:lnTo>
                    <a:pt x="101777" y="67711"/>
                  </a:lnTo>
                  <a:cubicBezTo>
                    <a:pt x="105117" y="63562"/>
                    <a:pt x="110605" y="61777"/>
                    <a:pt x="115774" y="63157"/>
                  </a:cubicBezTo>
                  <a:lnTo>
                    <a:pt x="138344" y="69184"/>
                  </a:lnTo>
                  <a:cubicBezTo>
                    <a:pt x="129414" y="72354"/>
                    <a:pt x="126668" y="86217"/>
                    <a:pt x="130106" y="110774"/>
                  </a:cubicBezTo>
                  <a:cubicBezTo>
                    <a:pt x="130786" y="115771"/>
                    <a:pt x="135110" y="119461"/>
                    <a:pt x="140152" y="119347"/>
                  </a:cubicBezTo>
                  <a:cubicBezTo>
                    <a:pt x="157297" y="118900"/>
                    <a:pt x="173237" y="117561"/>
                    <a:pt x="187971" y="115328"/>
                  </a:cubicBezTo>
                  <a:cubicBezTo>
                    <a:pt x="204111" y="112917"/>
                    <a:pt x="209737" y="101934"/>
                    <a:pt x="204714" y="86731"/>
                  </a:cubicBezTo>
                  <a:lnTo>
                    <a:pt x="230230" y="88472"/>
                  </a:lnTo>
                  <a:cubicBezTo>
                    <a:pt x="232507" y="88606"/>
                    <a:pt x="234293" y="87736"/>
                    <a:pt x="235588" y="85860"/>
                  </a:cubicBezTo>
                  <a:lnTo>
                    <a:pt x="247041" y="69117"/>
                  </a:lnTo>
                  <a:lnTo>
                    <a:pt x="244295" y="104479"/>
                  </a:lnTo>
                  <a:cubicBezTo>
                    <a:pt x="243759" y="111533"/>
                    <a:pt x="246929" y="115886"/>
                    <a:pt x="253805" y="117539"/>
                  </a:cubicBezTo>
                  <a:cubicBezTo>
                    <a:pt x="283898" y="124950"/>
                    <a:pt x="298520" y="123052"/>
                    <a:pt x="297672" y="111846"/>
                  </a:cubicBezTo>
                  <a:lnTo>
                    <a:pt x="305708" y="168036"/>
                  </a:lnTo>
                  <a:cubicBezTo>
                    <a:pt x="306289" y="172054"/>
                    <a:pt x="308588" y="173818"/>
                    <a:pt x="312607" y="173326"/>
                  </a:cubicBezTo>
                  <a:lnTo>
                    <a:pt x="360291" y="167835"/>
                  </a:lnTo>
                  <a:cubicBezTo>
                    <a:pt x="364265" y="167344"/>
                    <a:pt x="366006" y="165133"/>
                    <a:pt x="365515" y="161204"/>
                  </a:cubicBezTo>
                  <a:lnTo>
                    <a:pt x="360224" y="116400"/>
                  </a:lnTo>
                  <a:cubicBezTo>
                    <a:pt x="362233" y="121891"/>
                    <a:pt x="365872" y="124369"/>
                    <a:pt x="371141" y="123834"/>
                  </a:cubicBezTo>
                  <a:cubicBezTo>
                    <a:pt x="376945" y="123254"/>
                    <a:pt x="380070" y="122963"/>
                    <a:pt x="380517" y="122963"/>
                  </a:cubicBezTo>
                  <a:cubicBezTo>
                    <a:pt x="406190" y="123633"/>
                    <a:pt x="417084" y="116645"/>
                    <a:pt x="413200" y="102001"/>
                  </a:cubicBezTo>
                  <a:cubicBezTo>
                    <a:pt x="432667" y="106198"/>
                    <a:pt x="447690" y="99880"/>
                    <a:pt x="458272" y="83047"/>
                  </a:cubicBezTo>
                  <a:lnTo>
                    <a:pt x="458741" y="105081"/>
                  </a:lnTo>
                  <a:cubicBezTo>
                    <a:pt x="458875" y="110841"/>
                    <a:pt x="461822" y="113900"/>
                    <a:pt x="467582" y="114257"/>
                  </a:cubicBezTo>
                  <a:lnTo>
                    <a:pt x="505957" y="116467"/>
                  </a:lnTo>
                  <a:cubicBezTo>
                    <a:pt x="511389" y="116782"/>
                    <a:pt x="516109" y="112770"/>
                    <a:pt x="516672" y="107359"/>
                  </a:cubicBezTo>
                  <a:cubicBezTo>
                    <a:pt x="518548" y="89589"/>
                    <a:pt x="516940" y="73805"/>
                    <a:pt x="511850" y="60009"/>
                  </a:cubicBezTo>
                  <a:cubicBezTo>
                    <a:pt x="519619" y="59696"/>
                    <a:pt x="528549" y="57330"/>
                    <a:pt x="538639" y="52910"/>
                  </a:cubicBezTo>
                  <a:cubicBezTo>
                    <a:pt x="540604" y="52062"/>
                    <a:pt x="542613" y="52039"/>
                    <a:pt x="544667" y="52843"/>
                  </a:cubicBezTo>
                  <a:cubicBezTo>
                    <a:pt x="549891" y="54919"/>
                    <a:pt x="560204" y="63157"/>
                    <a:pt x="564022" y="63692"/>
                  </a:cubicBezTo>
                  <a:cubicBezTo>
                    <a:pt x="565004" y="63826"/>
                    <a:pt x="566009" y="63826"/>
                    <a:pt x="567036" y="63692"/>
                  </a:cubicBezTo>
                  <a:cubicBezTo>
                    <a:pt x="569045" y="63424"/>
                    <a:pt x="569983" y="64295"/>
                    <a:pt x="569849" y="66304"/>
                  </a:cubicBezTo>
                  <a:lnTo>
                    <a:pt x="568643" y="80904"/>
                  </a:lnTo>
                  <a:cubicBezTo>
                    <a:pt x="566723" y="88762"/>
                    <a:pt x="566388" y="96621"/>
                    <a:pt x="567639" y="104479"/>
                  </a:cubicBezTo>
                  <a:cubicBezTo>
                    <a:pt x="567951" y="106622"/>
                    <a:pt x="569179" y="107827"/>
                    <a:pt x="571322" y="108095"/>
                  </a:cubicBezTo>
                  <a:lnTo>
                    <a:pt x="671580" y="120351"/>
                  </a:lnTo>
                  <a:cubicBezTo>
                    <a:pt x="681492" y="134684"/>
                    <a:pt x="696762" y="142519"/>
                    <a:pt x="717390" y="143859"/>
                  </a:cubicBezTo>
                  <a:cubicBezTo>
                    <a:pt x="719622" y="143992"/>
                    <a:pt x="721430" y="143167"/>
                    <a:pt x="722814" y="141381"/>
                  </a:cubicBezTo>
                  <a:cubicBezTo>
                    <a:pt x="728708" y="133657"/>
                    <a:pt x="732480" y="125597"/>
                    <a:pt x="734133" y="117203"/>
                  </a:cubicBezTo>
                  <a:lnTo>
                    <a:pt x="811955" y="113252"/>
                  </a:lnTo>
                  <a:cubicBezTo>
                    <a:pt x="813992" y="113178"/>
                    <a:pt x="815564" y="111445"/>
                    <a:pt x="815465" y="109380"/>
                  </a:cubicBezTo>
                  <a:cubicBezTo>
                    <a:pt x="815423" y="108508"/>
                    <a:pt x="815082" y="107675"/>
                    <a:pt x="814499" y="107024"/>
                  </a:cubicBezTo>
                  <a:cubicBezTo>
                    <a:pt x="796149" y="86798"/>
                    <a:pt x="790925" y="33956"/>
                    <a:pt x="791461" y="7100"/>
                  </a:cubicBezTo>
                  <a:cubicBezTo>
                    <a:pt x="791496" y="4650"/>
                    <a:pt x="793465" y="2652"/>
                    <a:pt x="795948" y="2546"/>
                  </a:cubicBezTo>
                  <a:cubicBezTo>
                    <a:pt x="837829" y="983"/>
                    <a:pt x="880267" y="135"/>
                    <a:pt x="923263" y="1"/>
                  </a:cubicBezTo>
                  <a:cubicBezTo>
                    <a:pt x="941927" y="-43"/>
                    <a:pt x="959451" y="1185"/>
                    <a:pt x="975837" y="3685"/>
                  </a:cubicBezTo>
                  <a:cubicBezTo>
                    <a:pt x="978744" y="4166"/>
                    <a:pt x="980754" y="6855"/>
                    <a:pt x="980391" y="9779"/>
                  </a:cubicBezTo>
                  <a:cubicBezTo>
                    <a:pt x="976596" y="38801"/>
                    <a:pt x="972399" y="64362"/>
                    <a:pt x="967800" y="86463"/>
                  </a:cubicBezTo>
                  <a:cubicBezTo>
                    <a:pt x="965858" y="95504"/>
                    <a:pt x="964652" y="106220"/>
                    <a:pt x="954941" y="108899"/>
                  </a:cubicBezTo>
                  <a:cubicBezTo>
                    <a:pt x="950119" y="110194"/>
                    <a:pt x="950119" y="111444"/>
                    <a:pt x="954941" y="112649"/>
                  </a:cubicBezTo>
                  <a:cubicBezTo>
                    <a:pt x="980257" y="118900"/>
                    <a:pt x="1000952" y="118096"/>
                    <a:pt x="1017025" y="110238"/>
                  </a:cubicBezTo>
                  <a:close/>
                  <a:moveTo>
                    <a:pt x="938265" y="97915"/>
                  </a:moveTo>
                  <a:cubicBezTo>
                    <a:pt x="937417" y="86887"/>
                    <a:pt x="934805" y="73805"/>
                    <a:pt x="930430" y="58669"/>
                  </a:cubicBezTo>
                  <a:cubicBezTo>
                    <a:pt x="928813" y="52969"/>
                    <a:pt x="923592" y="49032"/>
                    <a:pt x="917638" y="49025"/>
                  </a:cubicBezTo>
                  <a:lnTo>
                    <a:pt x="870690" y="49025"/>
                  </a:lnTo>
                  <a:cubicBezTo>
                    <a:pt x="861403" y="49025"/>
                    <a:pt x="856202" y="53646"/>
                    <a:pt x="855085" y="62889"/>
                  </a:cubicBezTo>
                  <a:lnTo>
                    <a:pt x="850531" y="100259"/>
                  </a:lnTo>
                  <a:cubicBezTo>
                    <a:pt x="849459" y="109189"/>
                    <a:pt x="853411" y="113654"/>
                    <a:pt x="862385" y="113654"/>
                  </a:cubicBezTo>
                  <a:lnTo>
                    <a:pt x="939805" y="113453"/>
                  </a:lnTo>
                  <a:cubicBezTo>
                    <a:pt x="951414" y="113408"/>
                    <a:pt x="951749" y="111332"/>
                    <a:pt x="940810" y="107224"/>
                  </a:cubicBezTo>
                  <a:cubicBezTo>
                    <a:pt x="939560" y="106734"/>
                    <a:pt x="938712" y="103630"/>
                    <a:pt x="938265" y="97915"/>
                  </a:cubicBezTo>
                  <a:close/>
                </a:path>
              </a:pathLst>
            </a:custGeom>
            <a:grpFill/>
            <a:ln w="6697" cap="flat">
              <a:noFill/>
              <a:prstDash val="solid"/>
              <a:miter/>
            </a:ln>
          </p:spPr>
          <p:txBody>
            <a:bodyPr rtlCol="0" anchor="ctr"/>
            <a:lstStyle/>
            <a:p>
              <a:endParaRPr lang="fr-FR"/>
            </a:p>
          </p:txBody>
        </p:sp>
        <p:sp>
          <p:nvSpPr>
            <p:cNvPr id="51" name="Free-form: Shape 251">
              <a:extLst>
                <a:ext uri="{FF2B5EF4-FFF2-40B4-BE49-F238E27FC236}">
                  <a16:creationId xmlns:a16="http://schemas.microsoft.com/office/drawing/2014/main" id="{FEA14DE0-5E89-813B-4B33-61B3480FD79E}"/>
                </a:ext>
              </a:extLst>
            </p:cNvPr>
            <p:cNvSpPr/>
            <p:nvPr/>
          </p:nvSpPr>
          <p:spPr>
            <a:xfrm>
              <a:off x="8544793" y="1674581"/>
              <a:ext cx="69280" cy="32239"/>
            </a:xfrm>
            <a:custGeom>
              <a:avLst/>
              <a:gdLst>
                <a:gd name="connsiteX0" fmla="*/ 157051 w 205051"/>
                <a:gd name="connsiteY0" fmla="*/ 73068 h 95420"/>
                <a:gd name="connsiteX1" fmla="*/ 158257 w 205051"/>
                <a:gd name="connsiteY1" fmla="*/ 58468 h 95420"/>
                <a:gd name="connsiteX2" fmla="*/ 155444 w 205051"/>
                <a:gd name="connsiteY2" fmla="*/ 55856 h 95420"/>
                <a:gd name="connsiteX3" fmla="*/ 152430 w 205051"/>
                <a:gd name="connsiteY3" fmla="*/ 55856 h 95420"/>
                <a:gd name="connsiteX4" fmla="*/ 133075 w 205051"/>
                <a:gd name="connsiteY4" fmla="*/ 45006 h 95420"/>
                <a:gd name="connsiteX5" fmla="*/ 127048 w 205051"/>
                <a:gd name="connsiteY5" fmla="*/ 45073 h 95420"/>
                <a:gd name="connsiteX6" fmla="*/ 100259 w 205051"/>
                <a:gd name="connsiteY6" fmla="*/ 52172 h 95420"/>
                <a:gd name="connsiteX7" fmla="*/ 46681 w 205051"/>
                <a:gd name="connsiteY7" fmla="*/ 75211 h 95420"/>
                <a:gd name="connsiteX8" fmla="*/ 1608 w 205051"/>
                <a:gd name="connsiteY8" fmla="*/ 94164 h 95420"/>
                <a:gd name="connsiteX9" fmla="*/ 0 w 205051"/>
                <a:gd name="connsiteY9" fmla="*/ 6698 h 95420"/>
                <a:gd name="connsiteX10" fmla="*/ 5491 w 205051"/>
                <a:gd name="connsiteY10" fmla="*/ 1072 h 95420"/>
                <a:gd name="connsiteX11" fmla="*/ 5492 w 205051"/>
                <a:gd name="connsiteY11" fmla="*/ 1072 h 95420"/>
                <a:gd name="connsiteX12" fmla="*/ 195025 w 205051"/>
                <a:gd name="connsiteY12" fmla="*/ 1 h 95420"/>
                <a:gd name="connsiteX13" fmla="*/ 205051 w 205051"/>
                <a:gd name="connsiteY13" fmla="*/ 9842 h 95420"/>
                <a:gd name="connsiteX14" fmla="*/ 204468 w 205051"/>
                <a:gd name="connsiteY14" fmla="*/ 13328 h 95420"/>
                <a:gd name="connsiteX15" fmla="*/ 191341 w 205051"/>
                <a:gd name="connsiteY15" fmla="*/ 43131 h 95420"/>
                <a:gd name="connsiteX16" fmla="*/ 157051 w 205051"/>
                <a:gd name="connsiteY16" fmla="*/ 73068 h 9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5051" h="95420">
                  <a:moveTo>
                    <a:pt x="157051" y="73068"/>
                  </a:moveTo>
                  <a:lnTo>
                    <a:pt x="158257" y="58468"/>
                  </a:lnTo>
                  <a:cubicBezTo>
                    <a:pt x="158391" y="56459"/>
                    <a:pt x="157453" y="55588"/>
                    <a:pt x="155444" y="55856"/>
                  </a:cubicBezTo>
                  <a:cubicBezTo>
                    <a:pt x="154417" y="55990"/>
                    <a:pt x="153413" y="55990"/>
                    <a:pt x="152430" y="55856"/>
                  </a:cubicBezTo>
                  <a:cubicBezTo>
                    <a:pt x="148613" y="55320"/>
                    <a:pt x="138299" y="47083"/>
                    <a:pt x="133075" y="45006"/>
                  </a:cubicBezTo>
                  <a:cubicBezTo>
                    <a:pt x="131021" y="44203"/>
                    <a:pt x="129012" y="44225"/>
                    <a:pt x="127048" y="45073"/>
                  </a:cubicBezTo>
                  <a:cubicBezTo>
                    <a:pt x="116957" y="49493"/>
                    <a:pt x="108027" y="51860"/>
                    <a:pt x="100259" y="52172"/>
                  </a:cubicBezTo>
                  <a:cubicBezTo>
                    <a:pt x="79028" y="52708"/>
                    <a:pt x="49226" y="45207"/>
                    <a:pt x="46681" y="75211"/>
                  </a:cubicBezTo>
                  <a:cubicBezTo>
                    <a:pt x="36099" y="92043"/>
                    <a:pt x="21074" y="98361"/>
                    <a:pt x="1608" y="94164"/>
                  </a:cubicBezTo>
                  <a:lnTo>
                    <a:pt x="0" y="6698"/>
                  </a:lnTo>
                  <a:cubicBezTo>
                    <a:pt x="-37" y="3628"/>
                    <a:pt x="2422" y="1110"/>
                    <a:pt x="5491" y="1072"/>
                  </a:cubicBezTo>
                  <a:cubicBezTo>
                    <a:pt x="5492" y="1072"/>
                    <a:pt x="5492" y="1072"/>
                    <a:pt x="5492" y="1072"/>
                  </a:cubicBezTo>
                  <a:lnTo>
                    <a:pt x="195025" y="1"/>
                  </a:lnTo>
                  <a:cubicBezTo>
                    <a:pt x="200500" y="-74"/>
                    <a:pt x="204989" y="4332"/>
                    <a:pt x="205051" y="9842"/>
                  </a:cubicBezTo>
                  <a:cubicBezTo>
                    <a:pt x="205064" y="11029"/>
                    <a:pt x="204867" y="12210"/>
                    <a:pt x="204468" y="13328"/>
                  </a:cubicBezTo>
                  <a:cubicBezTo>
                    <a:pt x="201387" y="22124"/>
                    <a:pt x="197012" y="32058"/>
                    <a:pt x="191341" y="43131"/>
                  </a:cubicBezTo>
                  <a:cubicBezTo>
                    <a:pt x="184175" y="57330"/>
                    <a:pt x="155645" y="48757"/>
                    <a:pt x="157051" y="73068"/>
                  </a:cubicBezTo>
                  <a:close/>
                </a:path>
              </a:pathLst>
            </a:custGeom>
            <a:grpFill/>
            <a:ln w="6697" cap="flat">
              <a:noFill/>
              <a:prstDash val="solid"/>
              <a:miter/>
            </a:ln>
          </p:spPr>
          <p:txBody>
            <a:bodyPr rtlCol="0" anchor="ctr"/>
            <a:lstStyle/>
            <a:p>
              <a:endParaRPr lang="fr-FR"/>
            </a:p>
          </p:txBody>
        </p:sp>
        <p:sp>
          <p:nvSpPr>
            <p:cNvPr id="52" name="Free-form: Shape 252">
              <a:extLst>
                <a:ext uri="{FF2B5EF4-FFF2-40B4-BE49-F238E27FC236}">
                  <a16:creationId xmlns:a16="http://schemas.microsoft.com/office/drawing/2014/main" id="{42BB5247-909B-C8F4-A618-0AE65F5F9232}"/>
                </a:ext>
              </a:extLst>
            </p:cNvPr>
            <p:cNvSpPr/>
            <p:nvPr/>
          </p:nvSpPr>
          <p:spPr>
            <a:xfrm>
              <a:off x="8426848" y="1679010"/>
              <a:ext cx="63029" cy="27929"/>
            </a:xfrm>
            <a:custGeom>
              <a:avLst/>
              <a:gdLst>
                <a:gd name="connsiteX0" fmla="*/ 184536 w 186549"/>
                <a:gd name="connsiteY0" fmla="*/ 48173 h 82664"/>
                <a:gd name="connsiteX1" fmla="*/ 173083 w 186549"/>
                <a:gd name="connsiteY1" fmla="*/ 64916 h 82664"/>
                <a:gd name="connsiteX2" fmla="*/ 167726 w 186549"/>
                <a:gd name="connsiteY2" fmla="*/ 67528 h 82664"/>
                <a:gd name="connsiteX3" fmla="*/ 142209 w 186549"/>
                <a:gd name="connsiteY3" fmla="*/ 65787 h 82664"/>
                <a:gd name="connsiteX4" fmla="*/ 75839 w 186549"/>
                <a:gd name="connsiteY4" fmla="*/ 48240 h 82664"/>
                <a:gd name="connsiteX5" fmla="*/ 53269 w 186549"/>
                <a:gd name="connsiteY5" fmla="*/ 42213 h 82664"/>
                <a:gd name="connsiteX6" fmla="*/ 39272 w 186549"/>
                <a:gd name="connsiteY6" fmla="*/ 46767 h 82664"/>
                <a:gd name="connsiteX7" fmla="*/ 10273 w 186549"/>
                <a:gd name="connsiteY7" fmla="*/ 82664 h 82664"/>
                <a:gd name="connsiteX8" fmla="*/ 26 w 186549"/>
                <a:gd name="connsiteY8" fmla="*/ 4708 h 82664"/>
                <a:gd name="connsiteX9" fmla="*/ 2812 w 186549"/>
                <a:gd name="connsiteY9" fmla="*/ 1049 h 82664"/>
                <a:gd name="connsiteX10" fmla="*/ 3174 w 186549"/>
                <a:gd name="connsiteY10" fmla="*/ 1025 h 82664"/>
                <a:gd name="connsiteX11" fmla="*/ 183062 w 186549"/>
                <a:gd name="connsiteY11" fmla="*/ 4507 h 82664"/>
                <a:gd name="connsiteX12" fmla="*/ 186545 w 186549"/>
                <a:gd name="connsiteY12" fmla="*/ 8458 h 82664"/>
                <a:gd name="connsiteX13" fmla="*/ 184536 w 186549"/>
                <a:gd name="connsiteY13" fmla="*/ 48173 h 8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549" h="82664">
                  <a:moveTo>
                    <a:pt x="184536" y="48173"/>
                  </a:moveTo>
                  <a:lnTo>
                    <a:pt x="173083" y="64916"/>
                  </a:lnTo>
                  <a:cubicBezTo>
                    <a:pt x="171788" y="66792"/>
                    <a:pt x="170002" y="67662"/>
                    <a:pt x="167726" y="67528"/>
                  </a:cubicBezTo>
                  <a:lnTo>
                    <a:pt x="142209" y="65787"/>
                  </a:lnTo>
                  <a:cubicBezTo>
                    <a:pt x="126001" y="54759"/>
                    <a:pt x="103878" y="48910"/>
                    <a:pt x="75839" y="48240"/>
                  </a:cubicBezTo>
                  <a:lnTo>
                    <a:pt x="53269" y="42213"/>
                  </a:lnTo>
                  <a:cubicBezTo>
                    <a:pt x="48099" y="40833"/>
                    <a:pt x="42613" y="42619"/>
                    <a:pt x="39272" y="46767"/>
                  </a:cubicBezTo>
                  <a:lnTo>
                    <a:pt x="10273" y="82664"/>
                  </a:lnTo>
                  <a:lnTo>
                    <a:pt x="26" y="4708"/>
                  </a:lnTo>
                  <a:cubicBezTo>
                    <a:pt x="-197" y="2909"/>
                    <a:pt x="1050" y="1271"/>
                    <a:pt x="2812" y="1049"/>
                  </a:cubicBezTo>
                  <a:cubicBezTo>
                    <a:pt x="2932" y="1034"/>
                    <a:pt x="3052" y="1026"/>
                    <a:pt x="3174" y="1025"/>
                  </a:cubicBezTo>
                  <a:cubicBezTo>
                    <a:pt x="83876" y="-717"/>
                    <a:pt x="132565" y="-650"/>
                    <a:pt x="183062" y="4507"/>
                  </a:cubicBezTo>
                  <a:cubicBezTo>
                    <a:pt x="185473" y="4730"/>
                    <a:pt x="186634" y="6047"/>
                    <a:pt x="186545" y="8458"/>
                  </a:cubicBezTo>
                  <a:lnTo>
                    <a:pt x="184536" y="48173"/>
                  </a:lnTo>
                  <a:close/>
                </a:path>
              </a:pathLst>
            </a:custGeom>
            <a:grpFill/>
            <a:ln w="6697" cap="flat">
              <a:noFill/>
              <a:prstDash val="solid"/>
              <a:miter/>
            </a:ln>
          </p:spPr>
          <p:txBody>
            <a:bodyPr rtlCol="0" anchor="ctr"/>
            <a:lstStyle/>
            <a:p>
              <a:endParaRPr lang="fr-FR"/>
            </a:p>
          </p:txBody>
        </p:sp>
        <p:sp>
          <p:nvSpPr>
            <p:cNvPr id="53" name="Free-form: Shape 253">
              <a:extLst>
                <a:ext uri="{FF2B5EF4-FFF2-40B4-BE49-F238E27FC236}">
                  <a16:creationId xmlns:a16="http://schemas.microsoft.com/office/drawing/2014/main" id="{AFE1BF7B-00EE-E1AB-90FA-673D21CB3DDF}"/>
                </a:ext>
              </a:extLst>
            </p:cNvPr>
            <p:cNvSpPr/>
            <p:nvPr/>
          </p:nvSpPr>
          <p:spPr>
            <a:xfrm>
              <a:off x="8326027" y="1709179"/>
              <a:ext cx="24216" cy="13626"/>
            </a:xfrm>
            <a:custGeom>
              <a:avLst/>
              <a:gdLst>
                <a:gd name="connsiteX0" fmla="*/ 68781 w 71673"/>
                <a:gd name="connsiteY0" fmla="*/ 0 h 40330"/>
                <a:gd name="connsiteX1" fmla="*/ 71661 w 71673"/>
                <a:gd name="connsiteY1" fmla="*/ 34625 h 40330"/>
                <a:gd name="connsiteX2" fmla="*/ 68929 w 71673"/>
                <a:gd name="connsiteY2" fmla="*/ 37897 h 40330"/>
                <a:gd name="connsiteX3" fmla="*/ 68781 w 71673"/>
                <a:gd name="connsiteY3" fmla="*/ 37906 h 40330"/>
                <a:gd name="connsiteX4" fmla="*/ 18284 w 71673"/>
                <a:gd name="connsiteY4" fmla="*/ 40318 h 40330"/>
                <a:gd name="connsiteX5" fmla="*/ 5559 w 71673"/>
                <a:gd name="connsiteY5" fmla="*/ 31008 h 40330"/>
                <a:gd name="connsiteX6" fmla="*/ 0 w 71673"/>
                <a:gd name="connsiteY6" fmla="*/ 9979 h 40330"/>
                <a:gd name="connsiteX7" fmla="*/ 68781 w 71673"/>
                <a:gd name="connsiteY7" fmla="*/ 0 h 4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73" h="40330">
                  <a:moveTo>
                    <a:pt x="68781" y="0"/>
                  </a:moveTo>
                  <a:lnTo>
                    <a:pt x="71661" y="34625"/>
                  </a:lnTo>
                  <a:cubicBezTo>
                    <a:pt x="71810" y="36282"/>
                    <a:pt x="70587" y="37747"/>
                    <a:pt x="68929" y="37897"/>
                  </a:cubicBezTo>
                  <a:cubicBezTo>
                    <a:pt x="68880" y="37901"/>
                    <a:pt x="68831" y="37904"/>
                    <a:pt x="68781" y="37906"/>
                  </a:cubicBezTo>
                  <a:lnTo>
                    <a:pt x="18284" y="40318"/>
                  </a:lnTo>
                  <a:cubicBezTo>
                    <a:pt x="12384" y="40583"/>
                    <a:pt x="7093" y="36712"/>
                    <a:pt x="5559" y="31008"/>
                  </a:cubicBezTo>
                  <a:lnTo>
                    <a:pt x="0" y="9979"/>
                  </a:lnTo>
                  <a:cubicBezTo>
                    <a:pt x="30316" y="18775"/>
                    <a:pt x="53243" y="15448"/>
                    <a:pt x="68781" y="0"/>
                  </a:cubicBezTo>
                  <a:close/>
                </a:path>
              </a:pathLst>
            </a:custGeom>
            <a:grpFill/>
            <a:ln w="6697" cap="flat">
              <a:noFill/>
              <a:prstDash val="solid"/>
              <a:miter/>
            </a:ln>
          </p:spPr>
          <p:txBody>
            <a:bodyPr rtlCol="0" anchor="ctr"/>
            <a:lstStyle/>
            <a:p>
              <a:endParaRPr lang="fr-F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POWER_USER_ID_TEMPLATES" val="Balance_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iksel">
  <a:themeElements>
    <a:clrScheme name="Egendefinert 1">
      <a:dk1>
        <a:srgbClr val="000000"/>
      </a:dk1>
      <a:lt1>
        <a:srgbClr val="FFFFFF"/>
      </a:lt1>
      <a:dk2>
        <a:srgbClr val="000000"/>
      </a:dk2>
      <a:lt2>
        <a:srgbClr val="00007D"/>
      </a:lt2>
      <a:accent1>
        <a:srgbClr val="A8FFC8"/>
      </a:accent1>
      <a:accent2>
        <a:srgbClr val="9999CC"/>
      </a:accent2>
      <a:accent3>
        <a:srgbClr val="FFFFFF"/>
      </a:accent3>
      <a:accent4>
        <a:srgbClr val="FAAC00"/>
      </a:accent4>
      <a:accent5>
        <a:srgbClr val="FFF29F"/>
      </a:accent5>
      <a:accent6>
        <a:srgbClr val="B97FB6"/>
      </a:accent6>
      <a:hlink>
        <a:srgbClr val="666699"/>
      </a:hlink>
      <a:folHlink>
        <a:srgbClr val="CCCCE6"/>
      </a:folHlink>
    </a:clrScheme>
    <a:fontScheme name="Piks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iksel 1">
        <a:dk1>
          <a:srgbClr val="0066FF"/>
        </a:dk1>
        <a:lt1>
          <a:srgbClr val="FFFFFF"/>
        </a:lt1>
        <a:dk2>
          <a:srgbClr val="000066"/>
        </a:dk2>
        <a:lt2>
          <a:srgbClr val="FFFFFF"/>
        </a:lt2>
        <a:accent1>
          <a:srgbClr val="6699FF"/>
        </a:accent1>
        <a:accent2>
          <a:srgbClr val="3333FF"/>
        </a:accent2>
        <a:accent3>
          <a:srgbClr val="AAAAB8"/>
        </a:accent3>
        <a:accent4>
          <a:srgbClr val="DADADA"/>
        </a:accent4>
        <a:accent5>
          <a:srgbClr val="B8CAFF"/>
        </a:accent5>
        <a:accent6>
          <a:srgbClr val="2D2DE7"/>
        </a:accent6>
        <a:hlink>
          <a:srgbClr val="FFCC00"/>
        </a:hlink>
        <a:folHlink>
          <a:srgbClr val="0000CC"/>
        </a:folHlink>
      </a:clrScheme>
      <a:clrMap bg1="dk2" tx1="lt1" bg2="dk1" tx2="lt2" accent1="accent1" accent2="accent2" accent3="accent3" accent4="accent4" accent5="accent5" accent6="accent6" hlink="hlink" folHlink="folHlink"/>
    </a:extraClrScheme>
    <a:extraClrScheme>
      <a:clrScheme name="Piksel 2">
        <a:dk1>
          <a:srgbClr val="009999"/>
        </a:dk1>
        <a:lt1>
          <a:srgbClr val="FFFFFF"/>
        </a:lt1>
        <a:dk2>
          <a:srgbClr val="334B49"/>
        </a:dk2>
        <a:lt2>
          <a:srgbClr val="FFFFFF"/>
        </a:lt2>
        <a:accent1>
          <a:srgbClr val="33CCCC"/>
        </a:accent1>
        <a:accent2>
          <a:srgbClr val="008080"/>
        </a:accent2>
        <a:accent3>
          <a:srgbClr val="ADB1B1"/>
        </a:accent3>
        <a:accent4>
          <a:srgbClr val="DADADA"/>
        </a:accent4>
        <a:accent5>
          <a:srgbClr val="ADE2E2"/>
        </a:accent5>
        <a:accent6>
          <a:srgbClr val="007373"/>
        </a:accent6>
        <a:hlink>
          <a:srgbClr val="FFCC00"/>
        </a:hlink>
        <a:folHlink>
          <a:srgbClr val="006666"/>
        </a:folHlink>
      </a:clrScheme>
      <a:clrMap bg1="dk2" tx1="lt1" bg2="dk1" tx2="lt2" accent1="accent1" accent2="accent2" accent3="accent3" accent4="accent4" accent5="accent5" accent6="accent6" hlink="hlink" folHlink="folHlink"/>
    </a:extraClrScheme>
    <a:extraClrScheme>
      <a:clrScheme name="Piksel 3">
        <a:dk1>
          <a:srgbClr val="006699"/>
        </a:dk1>
        <a:lt1>
          <a:srgbClr val="FFFFFF"/>
        </a:lt1>
        <a:dk2>
          <a:srgbClr val="333399"/>
        </a:dk2>
        <a:lt2>
          <a:srgbClr val="FFFFFF"/>
        </a:lt2>
        <a:accent1>
          <a:srgbClr val="0099CC"/>
        </a:accent1>
        <a:accent2>
          <a:srgbClr val="0386AF"/>
        </a:accent2>
        <a:accent3>
          <a:srgbClr val="ADADCA"/>
        </a:accent3>
        <a:accent4>
          <a:srgbClr val="DADADA"/>
        </a:accent4>
        <a:accent5>
          <a:srgbClr val="AACAE2"/>
        </a:accent5>
        <a:accent6>
          <a:srgbClr val="02799E"/>
        </a:accent6>
        <a:hlink>
          <a:srgbClr val="FFCC00"/>
        </a:hlink>
        <a:folHlink>
          <a:srgbClr val="6699FF"/>
        </a:folHlink>
      </a:clrScheme>
      <a:clrMap bg1="dk2" tx1="lt1" bg2="dk1" tx2="lt2" accent1="accent1" accent2="accent2" accent3="accent3" accent4="accent4" accent5="accent5" accent6="accent6" hlink="hlink" folHlink="folHlink"/>
    </a:extraClrScheme>
    <a:extraClrScheme>
      <a:clrScheme name="Piksel 4">
        <a:dk1>
          <a:srgbClr val="008080"/>
        </a:dk1>
        <a:lt1>
          <a:srgbClr val="FFFFFF"/>
        </a:lt1>
        <a:dk2>
          <a:srgbClr val="2F978D"/>
        </a:dk2>
        <a:lt2>
          <a:srgbClr val="FFFFFF"/>
        </a:lt2>
        <a:accent1>
          <a:srgbClr val="0099FF"/>
        </a:accent1>
        <a:accent2>
          <a:srgbClr val="009999"/>
        </a:accent2>
        <a:accent3>
          <a:srgbClr val="ADC9C5"/>
        </a:accent3>
        <a:accent4>
          <a:srgbClr val="DADADA"/>
        </a:accent4>
        <a:accent5>
          <a:srgbClr val="AACAFF"/>
        </a:accent5>
        <a:accent6>
          <a:srgbClr val="008A8A"/>
        </a:accent6>
        <a:hlink>
          <a:srgbClr val="FFFFCC"/>
        </a:hlink>
        <a:folHlink>
          <a:srgbClr val="70CAC6"/>
        </a:folHlink>
      </a:clrScheme>
      <a:clrMap bg1="dk2" tx1="lt1" bg2="dk1" tx2="lt2" accent1="accent1" accent2="accent2" accent3="accent3" accent4="accent4" accent5="accent5" accent6="accent6" hlink="hlink" folHlink="folHlink"/>
    </a:extraClrScheme>
    <a:extraClrScheme>
      <a:clrScheme name="Piksel 5">
        <a:dk1>
          <a:srgbClr val="822504"/>
        </a:dk1>
        <a:lt1>
          <a:srgbClr val="FFFFFF"/>
        </a:lt1>
        <a:dk2>
          <a:srgbClr val="330000"/>
        </a:dk2>
        <a:lt2>
          <a:srgbClr val="FFFFFF"/>
        </a:lt2>
        <a:accent1>
          <a:srgbClr val="FF9900"/>
        </a:accent1>
        <a:accent2>
          <a:srgbClr val="9E2A06"/>
        </a:accent2>
        <a:accent3>
          <a:srgbClr val="ADAAAA"/>
        </a:accent3>
        <a:accent4>
          <a:srgbClr val="DADADA"/>
        </a:accent4>
        <a:accent5>
          <a:srgbClr val="FFCAAA"/>
        </a:accent5>
        <a:accent6>
          <a:srgbClr val="8F2505"/>
        </a:accent6>
        <a:hlink>
          <a:srgbClr val="FF3300"/>
        </a:hlink>
        <a:folHlink>
          <a:srgbClr val="7C0704"/>
        </a:folHlink>
      </a:clrScheme>
      <a:clrMap bg1="dk2" tx1="lt1" bg2="dk1" tx2="lt2" accent1="accent1" accent2="accent2" accent3="accent3" accent4="accent4" accent5="accent5" accent6="accent6" hlink="hlink" folHlink="folHlink"/>
    </a:extraClrScheme>
    <a:extraClrScheme>
      <a:clrScheme name="Piksel 6">
        <a:dk1>
          <a:srgbClr val="336600"/>
        </a:dk1>
        <a:lt1>
          <a:srgbClr val="FFFFFF"/>
        </a:lt1>
        <a:dk2>
          <a:srgbClr val="4A7911"/>
        </a:dk2>
        <a:lt2>
          <a:srgbClr val="FFFFFF"/>
        </a:lt2>
        <a:accent1>
          <a:srgbClr val="666633"/>
        </a:accent1>
        <a:accent2>
          <a:srgbClr val="669900"/>
        </a:accent2>
        <a:accent3>
          <a:srgbClr val="B1BEAA"/>
        </a:accent3>
        <a:accent4>
          <a:srgbClr val="DADADA"/>
        </a:accent4>
        <a:accent5>
          <a:srgbClr val="B8B8AD"/>
        </a:accent5>
        <a:accent6>
          <a:srgbClr val="5C8A00"/>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Piksel 7">
        <a:dk1>
          <a:srgbClr val="000000"/>
        </a:dk1>
        <a:lt1>
          <a:srgbClr val="FFFFFF"/>
        </a:lt1>
        <a:dk2>
          <a:srgbClr val="000000"/>
        </a:dk2>
        <a:lt2>
          <a:srgbClr val="CC3300"/>
        </a:lt2>
        <a:accent1>
          <a:srgbClr val="FFCC00"/>
        </a:accent1>
        <a:accent2>
          <a:srgbClr val="CC6600"/>
        </a:accent2>
        <a:accent3>
          <a:srgbClr val="FFFFFF"/>
        </a:accent3>
        <a:accent4>
          <a:srgbClr val="000000"/>
        </a:accent4>
        <a:accent5>
          <a:srgbClr val="FFE2AA"/>
        </a:accent5>
        <a:accent6>
          <a:srgbClr val="B95C00"/>
        </a:accent6>
        <a:hlink>
          <a:srgbClr val="663300"/>
        </a:hlink>
        <a:folHlink>
          <a:srgbClr val="CC9900"/>
        </a:folHlink>
      </a:clrScheme>
      <a:clrMap bg1="lt1" tx1="dk1" bg2="lt2" tx2="dk2" accent1="accent1" accent2="accent2" accent3="accent3" accent4="accent4" accent5="accent5" accent6="accent6" hlink="hlink" folHlink="folHlink"/>
    </a:extraClrScheme>
    <a:extraClrScheme>
      <a:clrScheme name="Piksel 8">
        <a:dk1>
          <a:srgbClr val="003300"/>
        </a:dk1>
        <a:lt1>
          <a:srgbClr val="FFFFFF"/>
        </a:lt1>
        <a:dk2>
          <a:srgbClr val="000000"/>
        </a:dk2>
        <a:lt2>
          <a:srgbClr val="336600"/>
        </a:lt2>
        <a:accent1>
          <a:srgbClr val="CCCC00"/>
        </a:accent1>
        <a:accent2>
          <a:srgbClr val="669900"/>
        </a:accent2>
        <a:accent3>
          <a:srgbClr val="FFFFFF"/>
        </a:accent3>
        <a:accent4>
          <a:srgbClr val="002A00"/>
        </a:accent4>
        <a:accent5>
          <a:srgbClr val="E2E2AA"/>
        </a:accent5>
        <a:accent6>
          <a:srgbClr val="5C8A00"/>
        </a:accent6>
        <a:hlink>
          <a:srgbClr val="333300"/>
        </a:hlink>
        <a:folHlink>
          <a:srgbClr val="99CC00"/>
        </a:folHlink>
      </a:clrScheme>
      <a:clrMap bg1="lt1" tx1="dk1" bg2="lt2" tx2="dk2" accent1="accent1" accent2="accent2" accent3="accent3" accent4="accent4" accent5="accent5" accent6="accent6" hlink="hlink" folHlink="folHlink"/>
    </a:extraClrScheme>
    <a:extraClrScheme>
      <a:clrScheme name="Piksel 9">
        <a:dk1>
          <a:srgbClr val="000000"/>
        </a:dk1>
        <a:lt1>
          <a:srgbClr val="FFFFFF"/>
        </a:lt1>
        <a:dk2>
          <a:srgbClr val="000000"/>
        </a:dk2>
        <a:lt2>
          <a:srgbClr val="440044"/>
        </a:lt2>
        <a:accent1>
          <a:srgbClr val="FFCCCC"/>
        </a:accent1>
        <a:accent2>
          <a:srgbClr val="790571"/>
        </a:accent2>
        <a:accent3>
          <a:srgbClr val="FFFFFF"/>
        </a:accent3>
        <a:accent4>
          <a:srgbClr val="000000"/>
        </a:accent4>
        <a:accent5>
          <a:srgbClr val="FFE2E2"/>
        </a:accent5>
        <a:accent6>
          <a:srgbClr val="6D0466"/>
        </a:accent6>
        <a:hlink>
          <a:srgbClr val="993366"/>
        </a:hlink>
        <a:folHlink>
          <a:srgbClr val="9F839F"/>
        </a:folHlink>
      </a:clrScheme>
      <a:clrMap bg1="lt1" tx1="dk1" bg2="lt2" tx2="dk2" accent1="accent1" accent2="accent2" accent3="accent3" accent4="accent4" accent5="accent5" accent6="accent6" hlink="hlink" folHlink="folHlink"/>
    </a:extraClrScheme>
    <a:extraClrScheme>
      <a:clrScheme name="Piksel 10">
        <a:dk1>
          <a:srgbClr val="000000"/>
        </a:dk1>
        <a:lt1>
          <a:srgbClr val="FFFFFF"/>
        </a:lt1>
        <a:dk2>
          <a:srgbClr val="000000"/>
        </a:dk2>
        <a:lt2>
          <a:srgbClr val="FF9900"/>
        </a:lt2>
        <a:accent1>
          <a:srgbClr val="FFCC99"/>
        </a:accent1>
        <a:accent2>
          <a:srgbClr val="FBA313"/>
        </a:accent2>
        <a:accent3>
          <a:srgbClr val="FFFFFF"/>
        </a:accent3>
        <a:accent4>
          <a:srgbClr val="000000"/>
        </a:accent4>
        <a:accent5>
          <a:srgbClr val="FFE2CA"/>
        </a:accent5>
        <a:accent6>
          <a:srgbClr val="E39310"/>
        </a:accent6>
        <a:hlink>
          <a:srgbClr val="CC3300"/>
        </a:hlink>
        <a:folHlink>
          <a:srgbClr val="FCC66E"/>
        </a:folHlink>
      </a:clrScheme>
      <a:clrMap bg1="lt1" tx1="dk1" bg2="lt2" tx2="dk2" accent1="accent1" accent2="accent2" accent3="accent3" accent4="accent4" accent5="accent5" accent6="accent6" hlink="hlink" folHlink="folHlink"/>
    </a:extraClrScheme>
    <a:extraClrScheme>
      <a:clrScheme name="Piksel 11">
        <a:dk1>
          <a:srgbClr val="000000"/>
        </a:dk1>
        <a:lt1>
          <a:srgbClr val="FFFFFF"/>
        </a:lt1>
        <a:dk2>
          <a:srgbClr val="000000"/>
        </a:dk2>
        <a:lt2>
          <a:srgbClr val="779F92"/>
        </a:lt2>
        <a:accent1>
          <a:srgbClr val="33CCCC"/>
        </a:accent1>
        <a:accent2>
          <a:srgbClr val="9DC2D7"/>
        </a:accent2>
        <a:accent3>
          <a:srgbClr val="FFFFFF"/>
        </a:accent3>
        <a:accent4>
          <a:srgbClr val="000000"/>
        </a:accent4>
        <a:accent5>
          <a:srgbClr val="ADE2E2"/>
        </a:accent5>
        <a:accent6>
          <a:srgbClr val="8EB0C3"/>
        </a:accent6>
        <a:hlink>
          <a:srgbClr val="006666"/>
        </a:hlink>
        <a:folHlink>
          <a:srgbClr val="CCCCFF"/>
        </a:folHlink>
      </a:clrScheme>
      <a:clrMap bg1="lt1" tx1="dk1" bg2="lt2" tx2="dk2" accent1="accent1" accent2="accent2" accent3="accent3" accent4="accent4" accent5="accent5" accent6="accent6" hlink="hlink" folHlink="folHlink"/>
    </a:extraClrScheme>
    <a:extraClrScheme>
      <a:clrScheme name="Piksel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ALLING">
  <a:themeElements>
    <a:clrScheme name="Egendefinert 1">
      <a:dk1>
        <a:srgbClr val="3C0025"/>
      </a:dk1>
      <a:lt1>
        <a:srgbClr val="FFFFFF"/>
      </a:lt1>
      <a:dk2>
        <a:srgbClr val="000000"/>
      </a:dk2>
      <a:lt2>
        <a:srgbClr val="FFFFFF"/>
      </a:lt2>
      <a:accent1>
        <a:srgbClr val="3C0025"/>
      </a:accent1>
      <a:accent2>
        <a:srgbClr val="FF7474"/>
      </a:accent2>
      <a:accent3>
        <a:srgbClr val="FFC4C4"/>
      </a:accent3>
      <a:accent4>
        <a:srgbClr val="FFD396"/>
      </a:accent4>
      <a:accent5>
        <a:srgbClr val="EFE6FF"/>
      </a:accent5>
      <a:accent6>
        <a:srgbClr val="FFFCAC"/>
      </a:accent6>
      <a:hlink>
        <a:srgbClr val="FF7474"/>
      </a:hlink>
      <a:folHlink>
        <a:srgbClr val="9D6689"/>
      </a:folHlink>
    </a:clrScheme>
    <a:fontScheme name="MALLING">
      <a:majorFont>
        <a:latin typeface="Fold Grotesque Pro Light"/>
        <a:ea typeface=""/>
        <a:cs typeface=""/>
      </a:majorFont>
      <a:minorFont>
        <a:latin typeface="Fold Grotesqu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05000"/>
          </a:lnSpc>
          <a:defRPr sz="1300" dirty="0" smtClean="0">
            <a:solidFill>
              <a:schemeClr val="accent1"/>
            </a:solidFill>
            <a:latin typeface="Fold Grotesque Pro Light" panose="020B0303030201040103" pitchFamily="34" charset="0"/>
          </a:defRPr>
        </a:defPPr>
      </a:lstStyle>
    </a:txDef>
  </a:objectDefaults>
  <a:extraClrSchemeLst/>
  <a:custClrLst>
    <a:custClr name="Malling Red A">
      <a:srgbClr val="3C0025"/>
    </a:custClr>
    <a:custClr name="Malling Orange A">
      <a:srgbClr val="9D695C"/>
    </a:custClr>
    <a:custClr name="Malling Purple A">
      <a:srgbClr val="957291"/>
    </a:custClr>
    <a:custClr name="Malling Green A">
      <a:srgbClr val="937F64"/>
    </a:custClr>
    <a:custClr name="Malling Pink A">
      <a:srgbClr val="9D6689"/>
    </a:custClr>
    <a:custClr name="Malling Yellow A">
      <a:srgbClr val="9D7D67"/>
    </a:custClr>
    <a:custClr name="blank">
      <a:srgbClr val="FFFFFF"/>
    </a:custClr>
    <a:custClr name="blank">
      <a:srgbClr val="FFFFFF"/>
    </a:custClr>
    <a:custClr name="blank">
      <a:srgbClr val="FFFFFF"/>
    </a:custClr>
    <a:custClr name="blank">
      <a:srgbClr val="FFFFFF"/>
    </a:custClr>
    <a:custClr name="Malling Red B">
      <a:srgbClr val="FF7474"/>
    </a:custClr>
    <a:custClr name="Malling Orange B">
      <a:srgbClr val="FFD396"/>
    </a:custClr>
    <a:custClr name="Malling Purple B">
      <a:srgbClr val="EFE6FF"/>
    </a:custClr>
    <a:custClr name="Malling Green B">
      <a:srgbClr val="ECFFA5"/>
    </a:custClr>
    <a:custClr name="Malling Pink B">
      <a:srgbClr val="FFCEF0"/>
    </a:custClr>
    <a:custClr name="Malling Yellow B">
      <a:srgbClr val="FFFCAC"/>
    </a:custClr>
    <a:custClr name="blank">
      <a:srgbClr val="FFFFFF"/>
    </a:custClr>
    <a:custClr name="blank">
      <a:srgbClr val="FFFFFF"/>
    </a:custClr>
    <a:custClr name="blank">
      <a:srgbClr val="FFFFFF"/>
    </a:custClr>
    <a:custClr name="blank">
      <a:srgbClr val="FFFFFF"/>
    </a:custClr>
    <a:custClr name="Malling Red C">
      <a:srgbClr val="FFC4C4"/>
    </a:custClr>
    <a:custClr name="Malling Orange C">
      <a:srgbClr val="FFE9CA"/>
    </a:custClr>
    <a:custClr name="Malling Purple C">
      <a:srgbClr val="F7F2FF"/>
    </a:custClr>
    <a:custClr name="Malling Green C">
      <a:srgbClr val="F5FFD2"/>
    </a:custClr>
    <a:custClr name="Malling Pink C">
      <a:srgbClr val="FFE6F7"/>
    </a:custClr>
    <a:custClr name="Malling Yellow C">
      <a:srgbClr val="FFFDD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alling_mal_ppt.potm" id="{9F36448A-9A93-4F88-9894-E3C5B448957A}" vid="{059E55D1-3814-4B8A-B1F4-6BB799DB9EE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90079170938D84DBFA2C1B251CD1C8A" ma:contentTypeVersion="16" ma:contentTypeDescription="Opprett et nytt dokument." ma:contentTypeScope="" ma:versionID="4cea09098d274ec60948c3d572fcc90c">
  <xsd:schema xmlns:xsd="http://www.w3.org/2001/XMLSchema" xmlns:xs="http://www.w3.org/2001/XMLSchema" xmlns:p="http://schemas.microsoft.com/office/2006/metadata/properties" xmlns:ns2="2d0b55a6-7071-4f8e-a5d3-b60c1c7854c3" xmlns:ns3="0de52308-e94d-442a-aa4e-c7c2097167bf" targetNamespace="http://schemas.microsoft.com/office/2006/metadata/properties" ma:root="true" ma:fieldsID="b6f330d9c39db540eb9bd86b8593ce4c" ns2:_="" ns3:_="">
    <xsd:import namespace="2d0b55a6-7071-4f8e-a5d3-b60c1c7854c3"/>
    <xsd:import namespace="0de52308-e94d-442a-aa4e-c7c2097167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0b55a6-7071-4f8e-a5d3-b60c1c7854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Bildemerkelapper" ma:readOnly="false" ma:fieldId="{5cf76f15-5ced-4ddc-b409-7134ff3c332f}" ma:taxonomyMulti="true" ma:sspId="cad10f3f-49cb-4079-8b26-3f4f8f79d80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e52308-e94d-442a-aa4e-c7c2097167b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091b2e9-7ec3-44fa-bd8c-2ea2bccdc0ee}" ma:internalName="TaxCatchAll" ma:showField="CatchAllData" ma:web="0de52308-e94d-442a-aa4e-c7c2097167bf">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de52308-e94d-442a-aa4e-c7c2097167bf" xsi:nil="true"/>
    <lcf76f155ced4ddcb4097134ff3c332f xmlns="2d0b55a6-7071-4f8e-a5d3-b60c1c7854c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2B618EF-A96F-4114-969A-BB99424EA1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0b55a6-7071-4f8e-a5d3-b60c1c7854c3"/>
    <ds:schemaRef ds:uri="0de52308-e94d-442a-aa4e-c7c2097167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0F2C794-C02A-4E4B-9156-FADF1171E30C}">
  <ds:schemaRefs>
    <ds:schemaRef ds:uri="http://schemas.microsoft.com/sharepoint/v3/contenttype/forms"/>
  </ds:schemaRefs>
</ds:datastoreItem>
</file>

<file path=customXml/itemProps3.xml><?xml version="1.0" encoding="utf-8"?>
<ds:datastoreItem xmlns:ds="http://schemas.openxmlformats.org/officeDocument/2006/customXml" ds:itemID="{5D0DF6D4-3BD0-4AF3-B366-D587D3B2CF95}">
  <ds:schemaRefs>
    <ds:schemaRef ds:uri="0de52308-e94d-442a-aa4e-c7c2097167bf"/>
    <ds:schemaRef ds:uri="2d0b55a6-7071-4f8e-a5d3-b60c1c7854c3"/>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334</TotalTime>
  <Words>948</Words>
  <Application>Microsoft Office PowerPoint</Application>
  <PresentationFormat>Custom</PresentationFormat>
  <Paragraphs>185</Paragraphs>
  <Slides>14</Slides>
  <Notes>1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9" baseType="lpstr">
      <vt:lpstr>Aptos</vt:lpstr>
      <vt:lpstr>Arial</vt:lpstr>
      <vt:lpstr>Arial Black</vt:lpstr>
      <vt:lpstr>Calibri</vt:lpstr>
      <vt:lpstr>Fold Grotesque Pro Light</vt:lpstr>
      <vt:lpstr>Fold Grotesque Pro Medium</vt:lpstr>
      <vt:lpstr>Lato Light</vt:lpstr>
      <vt:lpstr>Open Sans</vt:lpstr>
      <vt:lpstr>Sequel Sans Book Disp</vt:lpstr>
      <vt:lpstr>Stainless UltraLight</vt:lpstr>
      <vt:lpstr>Times New Roman</vt:lpstr>
      <vt:lpstr>Wingdings</vt:lpstr>
      <vt:lpstr>Piksel</vt:lpstr>
      <vt:lpstr>MALLIN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Kvernberg, Nora</dc:creator>
  <cp:lastModifiedBy>Kvernberg, Nora</cp:lastModifiedBy>
  <cp:revision>4</cp:revision>
  <dcterms:created xsi:type="dcterms:W3CDTF">2025-03-03T11:22:27Z</dcterms:created>
  <dcterms:modified xsi:type="dcterms:W3CDTF">2025-11-19T09:4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03-03T00:00:00Z</vt:filetime>
  </property>
  <property fmtid="{D5CDD505-2E9C-101B-9397-08002B2CF9AE}" pid="3" name="Creator">
    <vt:lpwstr>PDF-XChange Standard (9.3 build 360) [GDI] [Windows 10 Enterprise x64 (Build 26100)]</vt:lpwstr>
  </property>
  <property fmtid="{D5CDD505-2E9C-101B-9397-08002B2CF9AE}" pid="4" name="CreatorTool">
    <vt:lpwstr>PDF-XChange Standard (9.3 build 360) [GDI] [Windows 10 Enterprise x64 (Build 26100)]</vt:lpwstr>
  </property>
  <property fmtid="{D5CDD505-2E9C-101B-9397-08002B2CF9AE}" pid="5" name="LastSaved">
    <vt:filetime>2025-03-03T00:00:00Z</vt:filetime>
  </property>
  <property fmtid="{D5CDD505-2E9C-101B-9397-08002B2CF9AE}" pid="6" name="Producer">
    <vt:lpwstr>PDF-XChange Standard (9.3 build 360) [GDI] [Windows 10 Enterprise x64 (Build 26100)]</vt:lpwstr>
  </property>
  <property fmtid="{D5CDD505-2E9C-101B-9397-08002B2CF9AE}" pid="7" name="ContentTypeId">
    <vt:lpwstr>0x010100590079170938D84DBFA2C1B251CD1C8A</vt:lpwstr>
  </property>
  <property fmtid="{D5CDD505-2E9C-101B-9397-08002B2CF9AE}" pid="8" name="MediaServiceImageTags">
    <vt:lpwstr/>
  </property>
</Properties>
</file>